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257" r:id="rId2"/>
    <p:sldId id="282" r:id="rId3"/>
    <p:sldId id="283" r:id="rId4"/>
    <p:sldId id="285" r:id="rId5"/>
    <p:sldId id="286" r:id="rId6"/>
    <p:sldId id="287" r:id="rId7"/>
    <p:sldId id="288" r:id="rId8"/>
    <p:sldId id="291" r:id="rId9"/>
    <p:sldId id="292" r:id="rId10"/>
    <p:sldId id="295" r:id="rId11"/>
    <p:sldId id="305" r:id="rId12"/>
    <p:sldId id="300" r:id="rId13"/>
    <p:sldId id="301" r:id="rId14"/>
    <p:sldId id="302" r:id="rId15"/>
    <p:sldId id="303" r:id="rId16"/>
  </p:sldIdLst>
  <p:sldSz cx="9144000" cy="6858000" type="screen4x3"/>
  <p:notesSz cx="6805613" cy="9944100"/>
  <p:custDataLst>
    <p:tags r:id="rId19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01">
          <p15:clr>
            <a:srgbClr val="A4A3A4"/>
          </p15:clr>
        </p15:guide>
        <p15:guide id="2" pos="26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ERGNE, Frederique" initials="VF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7777A"/>
    <a:srgbClr val="EE002D"/>
    <a:srgbClr val="B5D766"/>
    <a:srgbClr val="F1AD7A"/>
    <a:srgbClr val="66CBEC"/>
    <a:srgbClr val="E3002C"/>
    <a:srgbClr val="77DBD1"/>
    <a:srgbClr val="F4791C"/>
    <a:srgbClr val="095BBF"/>
    <a:srgbClr val="FFC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233" autoAdjust="0"/>
    <p:restoredTop sz="96497" autoAdjust="0"/>
  </p:normalViewPr>
  <p:slideViewPr>
    <p:cSldViewPr snapToGrid="0" showGuides="1">
      <p:cViewPr varScale="1">
        <p:scale>
          <a:sx n="114" d="100"/>
          <a:sy n="114" d="100"/>
        </p:scale>
        <p:origin x="2178" y="102"/>
      </p:cViewPr>
      <p:guideLst>
        <p:guide orient="horz" pos="1901"/>
        <p:guide pos="26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3558" y="-120"/>
      </p:cViewPr>
      <p:guideLst>
        <p:guide orient="horz" pos="3132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638154-367A-B046-9B0F-679C819B2CE2}" type="datetime1">
              <a:rPr lang="de-DE" smtClean="0"/>
              <a:pPr/>
              <a:t>20.05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7B607-AE3D-C343-8D2B-EB089DA10BD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9099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A90879-7BAA-6A4D-AA37-628797FCA952}" type="datetime1">
              <a:rPr lang="fr-FR" smtClean="0"/>
              <a:pPr/>
              <a:t>20/05/2020</a:t>
            </a:fld>
            <a:endParaRPr lang="fr-FR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 err="1"/>
              <a:t>Mastertextformat</a:t>
            </a:r>
            <a:r>
              <a:rPr lang="fr-FR" dirty="0"/>
              <a:t> </a:t>
            </a:r>
            <a:r>
              <a:rPr lang="fr-FR" dirty="0" err="1"/>
              <a:t>bearbeiten</a:t>
            </a:r>
            <a:endParaRPr lang="fr-FR" dirty="0"/>
          </a:p>
          <a:p>
            <a:pPr lvl="1"/>
            <a:r>
              <a:rPr lang="fr-FR" dirty="0" err="1"/>
              <a:t>Zweite</a:t>
            </a:r>
            <a:r>
              <a:rPr lang="fr-FR" dirty="0"/>
              <a:t> </a:t>
            </a:r>
            <a:r>
              <a:rPr lang="fr-FR" dirty="0" err="1"/>
              <a:t>Ebene</a:t>
            </a:r>
            <a:endParaRPr lang="fr-FR" dirty="0"/>
          </a:p>
          <a:p>
            <a:pPr lvl="2"/>
            <a:r>
              <a:rPr lang="fr-FR" dirty="0" err="1"/>
              <a:t>Dritte</a:t>
            </a:r>
            <a:r>
              <a:rPr lang="fr-FR" dirty="0"/>
              <a:t> </a:t>
            </a:r>
            <a:r>
              <a:rPr lang="fr-FR" dirty="0" err="1"/>
              <a:t>Ebene</a:t>
            </a:r>
            <a:endParaRPr lang="fr-FR" dirty="0"/>
          </a:p>
          <a:p>
            <a:pPr lvl="3"/>
            <a:r>
              <a:rPr lang="fr-FR" dirty="0" err="1"/>
              <a:t>Vierte</a:t>
            </a:r>
            <a:r>
              <a:rPr lang="fr-FR" dirty="0"/>
              <a:t> </a:t>
            </a:r>
            <a:r>
              <a:rPr lang="fr-FR" dirty="0" err="1"/>
              <a:t>Ebene</a:t>
            </a:r>
            <a:endParaRPr lang="fr-FR" dirty="0"/>
          </a:p>
          <a:p>
            <a:pPr lvl="4"/>
            <a:r>
              <a:rPr lang="fr-FR" dirty="0" err="1"/>
              <a:t>Fünfte</a:t>
            </a:r>
            <a:r>
              <a:rPr lang="fr-FR" dirty="0"/>
              <a:t> </a:t>
            </a:r>
            <a:r>
              <a:rPr lang="fr-FR" dirty="0" err="1"/>
              <a:t>Ebene</a:t>
            </a:r>
            <a:endParaRPr lang="fr-FR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fr-FR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A6A7E8-472F-3841-8202-304F511408B2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68774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otentially the only variety in the top 3 categories for G3, </a:t>
            </a:r>
            <a:r>
              <a:rPr lang="en-GB" dirty="0" err="1"/>
              <a:t>uks</a:t>
            </a:r>
            <a:r>
              <a:rPr lang="en-GB" dirty="0"/>
              <a:t> &amp; good distill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CC8547-2D91-43AB-9C6D-AE87657A9B3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9970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emf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4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5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1.png"/><Relationship Id="rId4" Type="http://schemas.openxmlformats.org/officeDocument/2006/relationships/image" Target="../media/image6.png"/><Relationship Id="rId9" Type="http://schemas.openxmlformats.org/officeDocument/2006/relationships/image" Target="../media/image10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0" Type="http://schemas.openxmlformats.org/officeDocument/2006/relationships/image" Target="../media/image51.png"/><Relationship Id="rId4" Type="http://schemas.openxmlformats.org/officeDocument/2006/relationships/image" Target="../media/image6.png"/><Relationship Id="rId9" Type="http://schemas.openxmlformats.org/officeDocument/2006/relationships/image" Target="../media/image50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52.png"/><Relationship Id="rId7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4.png"/><Relationship Id="rId5" Type="http://schemas.openxmlformats.org/officeDocument/2006/relationships/image" Target="../media/image4.emf"/><Relationship Id="rId4" Type="http://schemas.openxmlformats.org/officeDocument/2006/relationships/image" Target="../media/image53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1.png"/><Relationship Id="rId7" Type="http://schemas.openxmlformats.org/officeDocument/2006/relationships/image" Target="../media/image8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5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emf"/><Relationship Id="rId7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11" Type="http://schemas.openxmlformats.org/officeDocument/2006/relationships/image" Target="../media/image10.png"/><Relationship Id="rId5" Type="http://schemas.openxmlformats.org/officeDocument/2006/relationships/image" Target="../media/image6.png"/><Relationship Id="rId10" Type="http://schemas.openxmlformats.org/officeDocument/2006/relationships/image" Target="../media/image17.png"/><Relationship Id="rId4" Type="http://schemas.openxmlformats.org/officeDocument/2006/relationships/image" Target="../media/image5.png"/><Relationship Id="rId9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6.png"/><Relationship Id="rId18" Type="http://schemas.openxmlformats.org/officeDocument/2006/relationships/image" Target="../media/image7.png"/><Relationship Id="rId26" Type="http://schemas.openxmlformats.org/officeDocument/2006/relationships/image" Target="../media/image17.png"/><Relationship Id="rId3" Type="http://schemas.openxmlformats.org/officeDocument/2006/relationships/image" Target="../media/image18.png"/><Relationship Id="rId21" Type="http://schemas.openxmlformats.org/officeDocument/2006/relationships/image" Target="../media/image31.png"/><Relationship Id="rId34" Type="http://schemas.openxmlformats.org/officeDocument/2006/relationships/image" Target="../media/image10.png"/><Relationship Id="rId7" Type="http://schemas.openxmlformats.org/officeDocument/2006/relationships/image" Target="../media/image22.png"/><Relationship Id="rId12" Type="http://schemas.openxmlformats.org/officeDocument/2006/relationships/image" Target="../media/image15.png"/><Relationship Id="rId17" Type="http://schemas.openxmlformats.org/officeDocument/2006/relationships/image" Target="../media/image29.png"/><Relationship Id="rId25" Type="http://schemas.openxmlformats.org/officeDocument/2006/relationships/image" Target="../media/image16.png"/><Relationship Id="rId33" Type="http://schemas.openxmlformats.org/officeDocument/2006/relationships/image" Target="../media/image39.png"/><Relationship Id="rId2" Type="http://schemas.openxmlformats.org/officeDocument/2006/relationships/image" Target="../media/image4.emf"/><Relationship Id="rId16" Type="http://schemas.openxmlformats.org/officeDocument/2006/relationships/image" Target="../media/image28.png"/><Relationship Id="rId20" Type="http://schemas.openxmlformats.org/officeDocument/2006/relationships/image" Target="../media/image30.png"/><Relationship Id="rId29" Type="http://schemas.openxmlformats.org/officeDocument/2006/relationships/image" Target="../media/image3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11" Type="http://schemas.openxmlformats.org/officeDocument/2006/relationships/image" Target="../media/image25.png"/><Relationship Id="rId24" Type="http://schemas.openxmlformats.org/officeDocument/2006/relationships/image" Target="../media/image9.png"/><Relationship Id="rId32" Type="http://schemas.openxmlformats.org/officeDocument/2006/relationships/image" Target="../media/image14.png"/><Relationship Id="rId5" Type="http://schemas.openxmlformats.org/officeDocument/2006/relationships/image" Target="../media/image20.png"/><Relationship Id="rId15" Type="http://schemas.openxmlformats.org/officeDocument/2006/relationships/image" Target="../media/image27.png"/><Relationship Id="rId23" Type="http://schemas.openxmlformats.org/officeDocument/2006/relationships/image" Target="../media/image33.png"/><Relationship Id="rId28" Type="http://schemas.openxmlformats.org/officeDocument/2006/relationships/image" Target="../media/image35.png"/><Relationship Id="rId10" Type="http://schemas.openxmlformats.org/officeDocument/2006/relationships/image" Target="../media/image5.png"/><Relationship Id="rId19" Type="http://schemas.openxmlformats.org/officeDocument/2006/relationships/image" Target="../media/image8.png"/><Relationship Id="rId31" Type="http://schemas.openxmlformats.org/officeDocument/2006/relationships/image" Target="../media/image38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6.png"/><Relationship Id="rId22" Type="http://schemas.openxmlformats.org/officeDocument/2006/relationships/image" Target="../media/image32.png"/><Relationship Id="rId27" Type="http://schemas.openxmlformats.org/officeDocument/2006/relationships/image" Target="../media/image34.png"/><Relationship Id="rId30" Type="http://schemas.openxmlformats.org/officeDocument/2006/relationships/image" Target="../media/image37.png"/><Relationship Id="rId8" Type="http://schemas.openxmlformats.org/officeDocument/2006/relationships/image" Target="../media/image2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2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come version 2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914400" y="4379912"/>
            <a:ext cx="8229600" cy="1943233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14" name="Freihandform 13"/>
          <p:cNvSpPr/>
          <p:nvPr userDrawn="1"/>
        </p:nvSpPr>
        <p:spPr>
          <a:xfrm>
            <a:off x="1060252" y="4602934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13" name="Freihandform 12"/>
          <p:cNvSpPr/>
          <p:nvPr userDrawn="1"/>
        </p:nvSpPr>
        <p:spPr>
          <a:xfrm>
            <a:off x="1060252" y="5374522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2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69389" y="4600681"/>
            <a:ext cx="7949317" cy="778409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presentation</a:t>
            </a:r>
            <a:endParaRPr lang="fr-FR" dirty="0"/>
          </a:p>
        </p:txBody>
      </p:sp>
      <p:sp>
        <p:nvSpPr>
          <p:cNvPr id="19" name="Titel 1"/>
          <p:cNvSpPr>
            <a:spLocks noGrp="1"/>
          </p:cNvSpPr>
          <p:nvPr>
            <p:ph type="ctrTitle" hasCustomPrompt="1"/>
          </p:nvPr>
        </p:nvSpPr>
        <p:spPr>
          <a:xfrm>
            <a:off x="106939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title</a:t>
            </a:r>
            <a:r>
              <a:rPr lang="fr-FR" dirty="0"/>
              <a:t> of </a:t>
            </a:r>
            <a:r>
              <a:rPr lang="fr-FR" dirty="0" err="1"/>
              <a:t>presentation</a:t>
            </a:r>
            <a:endParaRPr lang="fr-FR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pic>
        <p:nvPicPr>
          <p:cNvPr id="15" name="Bild 31" descr="LG_Icons_Sunflower_red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9751" y="4162557"/>
            <a:ext cx="359664" cy="350520"/>
          </a:xfrm>
          <a:prstGeom prst="rect">
            <a:avLst/>
          </a:prstGeom>
          <a:effectLst>
            <a:outerShdw blurRad="50800" dist="38100" dir="2700000" sx="95000" sy="95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7" name="Picture 2" descr="\\192.168.0.210\daten_server\_IN ARBEIT\LIMAGRAIN\0243.15.0574_02 LIM Prozess Markenentwicklung international - Creation\01_PowerPoint\__cereal\LG_Icons_Cereals_red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8450" y="4153871"/>
            <a:ext cx="360000" cy="347899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\\192.168.0.210\daten_server\_IN ARBEIT\LIMAGRAIN\0243.15.0574_02 LIM Prozess Markenentwicklung international - Creation\01_PowerPoint\__grain maize\LG_Icons_grainMaize_red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6967" y="4171950"/>
            <a:ext cx="360000" cy="348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 descr="\\192.168.0.210\daten_server\_IN ARBEIT\LIMAGRAIN\0243.15.0574_02 LIM Prozess Markenentwicklung international - Creation\01_PowerPoint\__maize\LG_Icons_Maize_red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6581" y="4153871"/>
            <a:ext cx="360000" cy="350848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3" descr="\\192.168.0.210\daten_server\_IN ARBEIT\LIMAGRAIN\0243.15.0574_02 LIM Prozess Markenentwicklung international - Creation\01_PowerPoint\__oil seed rape\LG_Icons_Rape_red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8645" y="4153871"/>
            <a:ext cx="369474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Bild 11" descr="Limagrain_Logo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21" name="Image 1"/>
          <p:cNvPicPr>
            <a:picLocks noChangeAspect="1"/>
          </p:cNvPicPr>
          <p:nvPr userDrawn="1"/>
        </p:nvPicPr>
        <p:blipFill>
          <a:blip r:embed="rId10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3966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forage maize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914400" y="4125239"/>
            <a:ext cx="8229600" cy="219790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1060450" y="5408506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ctrTitle" hasCustomPrompt="1"/>
          </p:nvPr>
        </p:nvSpPr>
        <p:spPr>
          <a:xfrm>
            <a:off x="106939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69390" y="4443944"/>
            <a:ext cx="7942530" cy="9645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Chapter</a:t>
            </a:r>
            <a:r>
              <a:rPr lang="fr-FR" dirty="0"/>
              <a:t> for </a:t>
            </a:r>
            <a:r>
              <a:rPr lang="fr-FR" dirty="0" err="1"/>
              <a:t>Maize</a:t>
            </a:r>
            <a:r>
              <a:rPr lang="fr-FR" dirty="0"/>
              <a:t> (</a:t>
            </a:r>
            <a:r>
              <a:rPr lang="fr-FR" dirty="0" err="1"/>
              <a:t>silage</a:t>
            </a:r>
            <a:r>
              <a:rPr lang="fr-FR" dirty="0"/>
              <a:t>)</a:t>
            </a:r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sp>
        <p:nvSpPr>
          <p:cNvPr id="20" name="Freihandform 19"/>
          <p:cNvSpPr/>
          <p:nvPr userDrawn="1"/>
        </p:nvSpPr>
        <p:spPr>
          <a:xfrm>
            <a:off x="1060252" y="436381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5" name="Bild 14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pic>
        <p:nvPicPr>
          <p:cNvPr id="22" name="Bild 28" descr="LG_Icons_Maize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922" y="3681338"/>
            <a:ext cx="609495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Bild 11" descr="Limagrain_Logo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0" name="Image 1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804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unflower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914400" y="4125239"/>
            <a:ext cx="8229600" cy="219790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18" name="Titel 1"/>
          <p:cNvSpPr>
            <a:spLocks noGrp="1"/>
          </p:cNvSpPr>
          <p:nvPr>
            <p:ph type="ctrTitle" hasCustomPrompt="1"/>
          </p:nvPr>
        </p:nvSpPr>
        <p:spPr>
          <a:xfrm>
            <a:off x="110749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107490" y="4443944"/>
            <a:ext cx="7942530" cy="9645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Chapter</a:t>
            </a:r>
            <a:r>
              <a:rPr lang="fr-FR" dirty="0"/>
              <a:t> for </a:t>
            </a:r>
            <a:r>
              <a:rPr lang="fr-FR" dirty="0" err="1"/>
              <a:t>sunflower</a:t>
            </a:r>
            <a:endParaRPr lang="fr-FR" dirty="0"/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1050925" y="5408506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Freihandform 21"/>
          <p:cNvSpPr/>
          <p:nvPr userDrawn="1"/>
        </p:nvSpPr>
        <p:spPr>
          <a:xfrm>
            <a:off x="1060252" y="436381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4" name="Bild 32" descr="LG_Icons_Sunflower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" y="3666925"/>
            <a:ext cx="609496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Bild 11" descr="Limagrain_Logo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0" name="Image 1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897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forage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914400" y="4125239"/>
            <a:ext cx="8229600" cy="219790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1050925" y="5408506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ctrTitle" hasCustomPrompt="1"/>
          </p:nvPr>
        </p:nvSpPr>
        <p:spPr>
          <a:xfrm>
            <a:off x="106939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69390" y="4443944"/>
            <a:ext cx="7942530" cy="9645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Chapter</a:t>
            </a:r>
            <a:r>
              <a:rPr lang="fr-FR" dirty="0"/>
              <a:t> for forage</a:t>
            </a:r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sp>
        <p:nvSpPr>
          <p:cNvPr id="20" name="Freihandform 19"/>
          <p:cNvSpPr/>
          <p:nvPr userDrawn="1"/>
        </p:nvSpPr>
        <p:spPr>
          <a:xfrm>
            <a:off x="1060252" y="436381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pic>
        <p:nvPicPr>
          <p:cNvPr id="13" name="Bild 24" descr="LG_Icons_Forage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885" y="3680860"/>
            <a:ext cx="588880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Bild 11" descr="Limagrain_Logo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0" name="Image 1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59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cereals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914400" y="4125239"/>
            <a:ext cx="8229600" cy="219790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18" name="Titel 1"/>
          <p:cNvSpPr>
            <a:spLocks noGrp="1"/>
          </p:cNvSpPr>
          <p:nvPr>
            <p:ph type="ctrTitle" hasCustomPrompt="1"/>
          </p:nvPr>
        </p:nvSpPr>
        <p:spPr>
          <a:xfrm>
            <a:off x="106939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69390" y="4443944"/>
            <a:ext cx="7942530" cy="9645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Chapter</a:t>
            </a:r>
            <a:r>
              <a:rPr lang="fr-FR" dirty="0"/>
              <a:t> for </a:t>
            </a:r>
            <a:r>
              <a:rPr lang="fr-FR" dirty="0" err="1"/>
              <a:t>cereals</a:t>
            </a:r>
            <a:r>
              <a:rPr lang="fr-FR" dirty="0"/>
              <a:t>/</a:t>
            </a:r>
            <a:r>
              <a:rPr lang="fr-FR" dirty="0" err="1"/>
              <a:t>wheat</a:t>
            </a:r>
            <a:endParaRPr lang="fr-FR" dirty="0"/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1050925" y="5408506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Freihandform 21"/>
          <p:cNvSpPr/>
          <p:nvPr userDrawn="1"/>
        </p:nvSpPr>
        <p:spPr>
          <a:xfrm>
            <a:off x="1060252" y="436381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4" name="Bild 5" descr="LG_Icons_Cereals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750" y="3673769"/>
            <a:ext cx="609495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Bild 11" descr="Limagrain_Logo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0" name="Image 1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7535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barley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 userDrawn="1"/>
        </p:nvSpPr>
        <p:spPr>
          <a:xfrm>
            <a:off x="914400" y="4125239"/>
            <a:ext cx="8229600" cy="219790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18" name="Titel 1"/>
          <p:cNvSpPr>
            <a:spLocks noGrp="1"/>
          </p:cNvSpPr>
          <p:nvPr>
            <p:ph type="ctrTitle" hasCustomPrompt="1"/>
          </p:nvPr>
        </p:nvSpPr>
        <p:spPr>
          <a:xfrm>
            <a:off x="1097965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97965" y="4443944"/>
            <a:ext cx="7942530" cy="9645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Chapter</a:t>
            </a:r>
            <a:r>
              <a:rPr lang="fr-FR" dirty="0"/>
              <a:t> slide for </a:t>
            </a:r>
            <a:r>
              <a:rPr lang="fr-FR" dirty="0" err="1"/>
              <a:t>barley</a:t>
            </a:r>
            <a:endParaRPr lang="fr-FR" dirty="0"/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1050925" y="5408506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Freihandform 15"/>
          <p:cNvSpPr/>
          <p:nvPr userDrawn="1"/>
        </p:nvSpPr>
        <p:spPr>
          <a:xfrm>
            <a:off x="1060252" y="436381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4" name="Bild 3" descr="LG_Icons_Barley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714" y="3678020"/>
            <a:ext cx="609495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Bild 11" descr="Limagrain_Logo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0" name="Image 1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7263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pea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914400" y="4125239"/>
            <a:ext cx="8229600" cy="219790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18" name="Titel 1"/>
          <p:cNvSpPr>
            <a:spLocks noGrp="1"/>
          </p:cNvSpPr>
          <p:nvPr>
            <p:ph type="ctrTitle" hasCustomPrompt="1"/>
          </p:nvPr>
        </p:nvSpPr>
        <p:spPr>
          <a:xfrm>
            <a:off x="106939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69390" y="4443944"/>
            <a:ext cx="7942530" cy="9645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Chapter</a:t>
            </a:r>
            <a:r>
              <a:rPr lang="fr-FR" dirty="0"/>
              <a:t> for </a:t>
            </a:r>
            <a:r>
              <a:rPr lang="fr-FR" dirty="0" err="1"/>
              <a:t>peas</a:t>
            </a:r>
            <a:endParaRPr lang="fr-FR" dirty="0"/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cxnSp>
        <p:nvCxnSpPr>
          <p:cNvPr id="13" name="Gerade Verbindung 12"/>
          <p:cNvCxnSpPr/>
          <p:nvPr userDrawn="1"/>
        </p:nvCxnSpPr>
        <p:spPr>
          <a:xfrm>
            <a:off x="1050925" y="5408506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Freihandform 21"/>
          <p:cNvSpPr/>
          <p:nvPr userDrawn="1"/>
        </p:nvSpPr>
        <p:spPr>
          <a:xfrm>
            <a:off x="1060252" y="436381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4" name="Bild 30" descr="LG_Icons_Peas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800" y="3670828"/>
            <a:ext cx="609496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Bild 11" descr="Limagrain_Logo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0" name="Image 1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0099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oilseed rape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914400" y="4125239"/>
            <a:ext cx="8229600" cy="219790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1060450" y="5408506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ctrTitle" hasCustomPrompt="1"/>
          </p:nvPr>
        </p:nvSpPr>
        <p:spPr>
          <a:xfrm>
            <a:off x="106939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69390" y="4443944"/>
            <a:ext cx="7942530" cy="9645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Chapter</a:t>
            </a:r>
            <a:r>
              <a:rPr lang="fr-FR" dirty="0"/>
              <a:t> for </a:t>
            </a:r>
            <a:r>
              <a:rPr lang="fr-FR" dirty="0" err="1"/>
              <a:t>oilseed</a:t>
            </a:r>
            <a:r>
              <a:rPr lang="fr-FR" dirty="0"/>
              <a:t> </a:t>
            </a:r>
            <a:r>
              <a:rPr lang="fr-FR" dirty="0" err="1"/>
              <a:t>rape</a:t>
            </a:r>
            <a:endParaRPr lang="fr-FR" dirty="0"/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sp>
        <p:nvSpPr>
          <p:cNvPr id="20" name="Freihandform 19"/>
          <p:cNvSpPr/>
          <p:nvPr userDrawn="1"/>
        </p:nvSpPr>
        <p:spPr>
          <a:xfrm>
            <a:off x="1060252" y="436381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5" name="Bild 14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pic>
        <p:nvPicPr>
          <p:cNvPr id="22" name="Bild 34" descr="LG_Icons_Rape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450" y="3676047"/>
            <a:ext cx="609496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Bild 11" descr="Limagrain_Logo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0" name="Image 1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147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923925" y="4512012"/>
            <a:ext cx="8229600" cy="1811134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78914" y="4754806"/>
            <a:ext cx="7949317" cy="778409"/>
          </a:xfrm>
        </p:spPr>
        <p:txBody>
          <a:bodyPr anchor="ctr">
            <a:normAutofit/>
          </a:bodyPr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3000E"/>
              </a:buClr>
              <a:buSzPct val="75000"/>
              <a:buFont typeface="Wingdings" charset="2"/>
              <a:buNone/>
              <a:tabLst/>
              <a:defRPr sz="3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Thank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for </a:t>
            </a:r>
            <a:r>
              <a:rPr lang="fr-FR" dirty="0" err="1"/>
              <a:t>your</a:t>
            </a:r>
            <a:r>
              <a:rPr lang="fr-FR" dirty="0"/>
              <a:t> attention!</a:t>
            </a:r>
          </a:p>
        </p:txBody>
      </p:sp>
      <p:sp>
        <p:nvSpPr>
          <p:cNvPr id="21" name="Freihandform 20"/>
          <p:cNvSpPr/>
          <p:nvPr userDrawn="1"/>
        </p:nvSpPr>
        <p:spPr>
          <a:xfrm>
            <a:off x="1069777" y="4757059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22" name="Freihandform 21"/>
          <p:cNvSpPr/>
          <p:nvPr userDrawn="1"/>
        </p:nvSpPr>
        <p:spPr>
          <a:xfrm>
            <a:off x="1069777" y="5528647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3" name="Bild 31" descr="LG_Icons_Sunflower_red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9276" y="4305432"/>
            <a:ext cx="359664" cy="350520"/>
          </a:xfrm>
          <a:prstGeom prst="rect">
            <a:avLst/>
          </a:prstGeom>
          <a:effectLst>
            <a:outerShdw blurRad="50800" dist="38100" dir="2700000" sx="95000" sy="95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4" name="Picture 2" descr="\\192.168.0.210\daten_server\_IN ARBEIT\LIMAGRAIN\0243.15.0574_02 LIM Prozess Markenentwicklung international - Creation\01_PowerPoint\__cereal\LG_Icons_Cereals_red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8450" y="4296746"/>
            <a:ext cx="360000" cy="347899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\\192.168.0.210\daten_server\_IN ARBEIT\LIMAGRAIN\0243.15.0574_02 LIM Prozess Markenentwicklung international - Creation\01_PowerPoint\__grain maize\LG_Icons_grainMaize_red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6967" y="4314825"/>
            <a:ext cx="360000" cy="348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 descr="\\192.168.0.210\daten_server\_IN ARBEIT\LIMAGRAIN\0243.15.0574_02 LIM Prozess Markenentwicklung international - Creation\01_PowerPoint\__maize\LG_Icons_Maize_red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6581" y="4296746"/>
            <a:ext cx="360000" cy="350848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3" descr="\\192.168.0.210\daten_server\_IN ARBEIT\LIMAGRAIN\0243.15.0574_02 LIM Prozess Markenentwicklung international - Creation\01_PowerPoint\__oil seed rape\LG_Icons_Rape_red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8170" y="4296746"/>
            <a:ext cx="369474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Bild 14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pic>
        <p:nvPicPr>
          <p:cNvPr id="12" name="Bild 11" descr="Limagrain_Logo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6" name="Image 1"/>
          <p:cNvPicPr>
            <a:picLocks noChangeAspect="1"/>
          </p:cNvPicPr>
          <p:nvPr userDrawn="1"/>
        </p:nvPicPr>
        <p:blipFill>
          <a:blip r:embed="rId10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9957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 userDrawn="1"/>
        </p:nvSpPr>
        <p:spPr>
          <a:xfrm>
            <a:off x="914400" y="3958968"/>
            <a:ext cx="8229600" cy="236417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23" name="Freihandform 22"/>
          <p:cNvSpPr/>
          <p:nvPr userDrawn="1"/>
        </p:nvSpPr>
        <p:spPr>
          <a:xfrm>
            <a:off x="1060252" y="4184483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25" name="Freihandform 24"/>
          <p:cNvSpPr/>
          <p:nvPr userDrawn="1"/>
        </p:nvSpPr>
        <p:spPr>
          <a:xfrm>
            <a:off x="1060252" y="6072379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26" name="Textfeld 25"/>
          <p:cNvSpPr txBox="1"/>
          <p:nvPr userDrawn="1"/>
        </p:nvSpPr>
        <p:spPr>
          <a:xfrm>
            <a:off x="2619208" y="4244744"/>
            <a:ext cx="478944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>
                <a:solidFill>
                  <a:schemeClr val="bg1"/>
                </a:solidFill>
              </a:rPr>
              <a:t>Limagrain</a:t>
            </a:r>
            <a:r>
              <a:rPr lang="fr-FR" sz="1400" dirty="0">
                <a:solidFill>
                  <a:schemeClr val="bg1"/>
                </a:solidFill>
              </a:rPr>
              <a:t> Country 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Mailing</a:t>
            </a:r>
            <a:r>
              <a:rPr lang="fr-FR" sz="1400" baseline="0" dirty="0">
                <a:solidFill>
                  <a:schemeClr val="bg1"/>
                </a:solidFill>
              </a:rPr>
              <a:t> </a:t>
            </a:r>
            <a:r>
              <a:rPr lang="fr-FR" sz="1400" baseline="0" dirty="0" err="1">
                <a:solidFill>
                  <a:schemeClr val="bg1"/>
                </a:solidFill>
              </a:rPr>
              <a:t>A</a:t>
            </a:r>
            <a:r>
              <a:rPr lang="fr-FR" sz="1400" dirty="0" err="1">
                <a:solidFill>
                  <a:schemeClr val="bg1"/>
                </a:solidFill>
              </a:rPr>
              <a:t>ddress</a:t>
            </a:r>
            <a:endParaRPr lang="fr-FR" sz="1400" dirty="0">
              <a:solidFill>
                <a:schemeClr val="bg1"/>
              </a:solidFill>
            </a:endParaRPr>
          </a:p>
          <a:p>
            <a:pPr algn="ctr"/>
            <a:endParaRPr lang="fr-FR" sz="1400" dirty="0">
              <a:solidFill>
                <a:schemeClr val="bg1"/>
              </a:solidFill>
            </a:endParaRP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Phone 0(0) 0 00 00 00</a:t>
            </a:r>
            <a:r>
              <a:rPr lang="fr-FR" sz="1400" baseline="0" dirty="0">
                <a:solidFill>
                  <a:schemeClr val="bg1"/>
                </a:solidFill>
              </a:rPr>
              <a:t> 00</a:t>
            </a:r>
          </a:p>
          <a:p>
            <a:pPr algn="ctr"/>
            <a:endParaRPr lang="fr-FR" sz="1200" baseline="0" dirty="0">
              <a:solidFill>
                <a:schemeClr val="bg1"/>
              </a:solidFill>
            </a:endParaRPr>
          </a:p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400" b="0" baseline="0" dirty="0">
                <a:solidFill>
                  <a:schemeClr val="bg1"/>
                </a:solidFill>
              </a:rPr>
              <a:t>www.lgseeds.country</a:t>
            </a:r>
            <a:endParaRPr lang="fr-FR" sz="2400" b="0" dirty="0">
              <a:solidFill>
                <a:schemeClr val="bg1"/>
              </a:solidFill>
            </a:endParaRPr>
          </a:p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000" dirty="0">
              <a:solidFill>
                <a:schemeClr val="bg1"/>
              </a:solidFill>
            </a:endParaRPr>
          </a:p>
          <a:p>
            <a:pPr algn="ctr"/>
            <a:endParaRPr lang="fr-FR" sz="1600" dirty="0">
              <a:solidFill>
                <a:schemeClr val="bg1"/>
              </a:solidFill>
            </a:endParaRPr>
          </a:p>
        </p:txBody>
      </p:sp>
      <p:pic>
        <p:nvPicPr>
          <p:cNvPr id="12" name="Bild 25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3539172" y="754954"/>
            <a:ext cx="2575878" cy="2575878"/>
          </a:xfrm>
          <a:prstGeom prst="rect">
            <a:avLst/>
          </a:prstGeom>
        </p:spPr>
      </p:pic>
      <p:pic>
        <p:nvPicPr>
          <p:cNvPr id="10" name="Bild 31" descr="LG_Icons_Sunflower_red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8326" y="3724407"/>
            <a:ext cx="359664" cy="350520"/>
          </a:xfrm>
          <a:prstGeom prst="rect">
            <a:avLst/>
          </a:prstGeom>
          <a:effectLst>
            <a:outerShdw blurRad="50800" dist="38100" dir="2700000" sx="95000" sy="95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4" name="Picture 2" descr="\\192.168.0.210\daten_server\_IN ARBEIT\LIMAGRAIN\0243.15.0574_02 LIM Prozess Markenentwicklung international - Creation\01_PowerPoint\__cereal\LG_Icons_Cereals_red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8450" y="3715721"/>
            <a:ext cx="360000" cy="347899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\\192.168.0.210\daten_server\_IN ARBEIT\LIMAGRAIN\0243.15.0574_02 LIM Prozess Markenentwicklung international - Creation\01_PowerPoint\__grain maize\LG_Icons_grainMaize_red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6967" y="3733800"/>
            <a:ext cx="360000" cy="348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7" descr="\\192.168.0.210\daten_server\_IN ARBEIT\LIMAGRAIN\0243.15.0574_02 LIM Prozess Markenentwicklung international - Creation\01_PowerPoint\__maize\LG_Icons_Maize_red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6581" y="3715721"/>
            <a:ext cx="360000" cy="350848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\\192.168.0.210\daten_server\_IN ARBEIT\LIMAGRAIN\0243.15.0574_02 LIM Prozess Markenentwicklung international - Creation\01_PowerPoint\__oil seed rape\LG_Icons_Rape_red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7220" y="3715721"/>
            <a:ext cx="369474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feld 17"/>
          <p:cNvSpPr txBox="1"/>
          <p:nvPr userDrawn="1"/>
        </p:nvSpPr>
        <p:spPr>
          <a:xfrm>
            <a:off x="1069777" y="5792748"/>
            <a:ext cx="22732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" dirty="0" err="1">
                <a:solidFill>
                  <a:schemeClr val="bg1"/>
                </a:solidFill>
              </a:rPr>
              <a:t>Legal</a:t>
            </a:r>
            <a:r>
              <a:rPr lang="fr-FR" sz="800" dirty="0">
                <a:solidFill>
                  <a:schemeClr val="bg1"/>
                </a:solidFill>
              </a:rPr>
              <a:t> mention </a:t>
            </a:r>
            <a:r>
              <a:rPr lang="fr-FR" sz="800" dirty="0" err="1">
                <a:solidFill>
                  <a:schemeClr val="bg1"/>
                </a:solidFill>
              </a:rPr>
              <a:t>lorem</a:t>
            </a:r>
            <a:r>
              <a:rPr lang="fr-FR" sz="800" dirty="0">
                <a:solidFill>
                  <a:schemeClr val="bg1"/>
                </a:solidFill>
              </a:rPr>
              <a:t> </a:t>
            </a:r>
            <a:r>
              <a:rPr lang="fr-FR" sz="800" dirty="0" err="1">
                <a:solidFill>
                  <a:schemeClr val="bg1"/>
                </a:solidFill>
              </a:rPr>
              <a:t>ipsum</a:t>
            </a:r>
            <a:r>
              <a:rPr lang="fr-FR" sz="800" dirty="0">
                <a:solidFill>
                  <a:schemeClr val="bg1"/>
                </a:solidFill>
              </a:rPr>
              <a:t> </a:t>
            </a:r>
            <a:r>
              <a:rPr lang="fr-FR" sz="800" dirty="0" err="1">
                <a:solidFill>
                  <a:schemeClr val="bg1"/>
                </a:solidFill>
              </a:rPr>
              <a:t>dolor</a:t>
            </a:r>
            <a:r>
              <a:rPr lang="fr-FR" sz="800" dirty="0">
                <a:solidFill>
                  <a:schemeClr val="bg1"/>
                </a:solidFill>
              </a:rPr>
              <a:t> </a:t>
            </a:r>
            <a:r>
              <a:rPr lang="fr-FR" sz="800" dirty="0" err="1">
                <a:solidFill>
                  <a:schemeClr val="bg1"/>
                </a:solidFill>
              </a:rPr>
              <a:t>sit</a:t>
            </a:r>
            <a:r>
              <a:rPr lang="fr-FR" sz="800" dirty="0">
                <a:solidFill>
                  <a:schemeClr val="bg1"/>
                </a:solidFill>
              </a:rPr>
              <a:t> </a:t>
            </a:r>
            <a:r>
              <a:rPr lang="fr-FR" sz="800" dirty="0" err="1">
                <a:solidFill>
                  <a:schemeClr val="bg1"/>
                </a:solidFill>
              </a:rPr>
              <a:t>amet</a:t>
            </a:r>
            <a:endParaRPr lang="fr-FR" sz="800" dirty="0">
              <a:solidFill>
                <a:schemeClr val="bg1"/>
              </a:solidFill>
            </a:endParaRPr>
          </a:p>
          <a:p>
            <a:endParaRPr lang="fr-FR" sz="800" dirty="0"/>
          </a:p>
        </p:txBody>
      </p:sp>
      <p:pic>
        <p:nvPicPr>
          <p:cNvPr id="19" name="Bild 1" descr="facebook_icon_white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346" y="5751713"/>
            <a:ext cx="207264" cy="210312"/>
          </a:xfrm>
          <a:prstGeom prst="rect">
            <a:avLst/>
          </a:prstGeom>
        </p:spPr>
      </p:pic>
      <p:pic>
        <p:nvPicPr>
          <p:cNvPr id="20" name="Bild 2" descr="twitter_icon_white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3668" y="5751713"/>
            <a:ext cx="207264" cy="210312"/>
          </a:xfrm>
          <a:prstGeom prst="rect">
            <a:avLst/>
          </a:prstGeom>
        </p:spPr>
      </p:pic>
      <p:pic>
        <p:nvPicPr>
          <p:cNvPr id="22" name="Bild 3" descr="youtube_icon_white.png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7317" y="5744242"/>
            <a:ext cx="179832" cy="210312"/>
          </a:xfrm>
          <a:prstGeom prst="rect">
            <a:avLst/>
          </a:prstGeom>
        </p:spPr>
      </p:pic>
      <p:sp>
        <p:nvSpPr>
          <p:cNvPr id="27" name="Textplatzhalter 32"/>
          <p:cNvSpPr txBox="1">
            <a:spLocks/>
          </p:cNvSpPr>
          <p:nvPr userDrawn="1"/>
        </p:nvSpPr>
        <p:spPr>
          <a:xfrm>
            <a:off x="895350" y="6442540"/>
            <a:ext cx="1565770" cy="289373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pic>
        <p:nvPicPr>
          <p:cNvPr id="24" name="Bild 11" descr="Limagrain_Logo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9994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version 2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>
          <a:xfrm>
            <a:off x="914400" y="3958968"/>
            <a:ext cx="8229600" cy="236417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21" name="Freihandform 20"/>
          <p:cNvSpPr/>
          <p:nvPr userDrawn="1"/>
        </p:nvSpPr>
        <p:spPr>
          <a:xfrm>
            <a:off x="1069777" y="4184483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22" name="Freihandform 21"/>
          <p:cNvSpPr/>
          <p:nvPr userDrawn="1"/>
        </p:nvSpPr>
        <p:spPr>
          <a:xfrm>
            <a:off x="1069777" y="6072379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7" name="Bild 1" descr="facebook_icon_whit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8889" y="5798366"/>
            <a:ext cx="207264" cy="210312"/>
          </a:xfrm>
          <a:prstGeom prst="rect">
            <a:avLst/>
          </a:prstGeom>
        </p:spPr>
      </p:pic>
      <p:pic>
        <p:nvPicPr>
          <p:cNvPr id="20" name="Bild 3" descr="youtube_icon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9603" y="5800225"/>
            <a:ext cx="179832" cy="210312"/>
          </a:xfrm>
          <a:prstGeom prst="rect">
            <a:avLst/>
          </a:prstGeom>
        </p:spPr>
      </p:pic>
      <p:pic>
        <p:nvPicPr>
          <p:cNvPr id="15" name="Bild 14"/>
          <p:cNvPicPr>
            <a:picLocks noChangeAspect="1"/>
          </p:cNvPicPr>
          <p:nvPr userDrawn="1"/>
        </p:nvPicPr>
        <p:blipFill>
          <a:blip r:embed="rId5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917" y="3694450"/>
            <a:ext cx="23526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Bild 11" descr="Limagrain_Log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3" name="Image 1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  <p:sp>
        <p:nvSpPr>
          <p:cNvPr id="16" name="Textfeld 22"/>
          <p:cNvSpPr txBox="1"/>
          <p:nvPr userDrawn="1"/>
        </p:nvSpPr>
        <p:spPr>
          <a:xfrm>
            <a:off x="1011783" y="4181076"/>
            <a:ext cx="796979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Limagrain</a:t>
            </a: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Europe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iopôle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Clermont-Limagne – Rue Henri Mondor - 63360 Saint-</a:t>
            </a:r>
            <a:r>
              <a:rPr kumimoji="0" lang="fr-FR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eauzire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-  FRANC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Tél. : +33 (0)4 15 40 03 0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S.A. au capital de 9 229 894,75 € - SIREN 542 009 824  RCS Clermont-Ferrand- APE : 0111Z  - N° TVA </a:t>
            </a:r>
            <a:r>
              <a:rPr kumimoji="0" lang="fr-FR" sz="10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ntracomm</a:t>
            </a: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. </a:t>
            </a:r>
            <a:b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</a:b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FR54 542 009 824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DVANTA® </a:t>
            </a:r>
            <a:r>
              <a:rPr kumimoji="0" lang="fr-FR" sz="9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is</a:t>
            </a:r>
            <a:r>
              <a:rPr kumimoji="0" lang="fr-FR" sz="9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a </a:t>
            </a:r>
            <a:r>
              <a:rPr kumimoji="0" lang="fr-FR" sz="9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trademark</a:t>
            </a:r>
            <a:r>
              <a:rPr kumimoji="0" lang="fr-FR" sz="9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of </a:t>
            </a:r>
            <a:r>
              <a:rPr kumimoji="0" lang="fr-FR" sz="9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dvanta</a:t>
            </a:r>
            <a:r>
              <a:rPr kumimoji="0" lang="fr-FR" sz="9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</a:t>
            </a:r>
            <a:r>
              <a:rPr kumimoji="0" lang="fr-FR" sz="9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Netherlands</a:t>
            </a:r>
            <a:r>
              <a:rPr kumimoji="0" lang="fr-FR" sz="9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Holdings  BV. Photos : </a:t>
            </a:r>
            <a:r>
              <a:rPr kumimoji="0" lang="fr-FR" sz="9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atier</a:t>
            </a:r>
            <a:r>
              <a:rPr kumimoji="0" lang="fr-FR" sz="9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Visue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www.limagrain-europe.com</a:t>
            </a:r>
          </a:p>
        </p:txBody>
      </p:sp>
    </p:spTree>
    <p:extLst>
      <p:ext uri="{BB962C8B-B14F-4D97-AF65-F5344CB8AC3E}">
        <p14:creationId xmlns:p14="http://schemas.microsoft.com/office/powerpoint/2010/main" val="3141728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elcome 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914400" y="4379912"/>
            <a:ext cx="8229600" cy="1943233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14" name="Freihandform 13"/>
          <p:cNvSpPr/>
          <p:nvPr userDrawn="1"/>
        </p:nvSpPr>
        <p:spPr>
          <a:xfrm>
            <a:off x="1060252" y="4602934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13" name="Freihandform 12"/>
          <p:cNvSpPr/>
          <p:nvPr userDrawn="1"/>
        </p:nvSpPr>
        <p:spPr>
          <a:xfrm>
            <a:off x="1060252" y="5374522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2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69389" y="4600681"/>
            <a:ext cx="7949317" cy="778409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Title</a:t>
            </a:r>
            <a:r>
              <a:rPr lang="fr-FR" dirty="0"/>
              <a:t> of </a:t>
            </a:r>
            <a:r>
              <a:rPr lang="fr-FR" dirty="0" err="1"/>
              <a:t>presentation</a:t>
            </a:r>
            <a:endParaRPr lang="fr-FR" dirty="0"/>
          </a:p>
        </p:txBody>
      </p:sp>
      <p:sp>
        <p:nvSpPr>
          <p:cNvPr id="19" name="Titel 1"/>
          <p:cNvSpPr>
            <a:spLocks noGrp="1"/>
          </p:cNvSpPr>
          <p:nvPr>
            <p:ph type="ctrTitle" hasCustomPrompt="1"/>
          </p:nvPr>
        </p:nvSpPr>
        <p:spPr>
          <a:xfrm>
            <a:off x="106939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title</a:t>
            </a:r>
            <a:r>
              <a:rPr lang="fr-FR" dirty="0"/>
              <a:t> of </a:t>
            </a:r>
            <a:r>
              <a:rPr lang="fr-FR" dirty="0" err="1"/>
              <a:t>presentation</a:t>
            </a:r>
            <a:endParaRPr lang="fr-FR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3539172" y="754954"/>
            <a:ext cx="2575878" cy="2575878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  <p:pic>
        <p:nvPicPr>
          <p:cNvPr id="17" name="Bild 31" descr="LG_Icons_Sunflower_red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9751" y="4162557"/>
            <a:ext cx="359664" cy="350520"/>
          </a:xfrm>
          <a:prstGeom prst="rect">
            <a:avLst/>
          </a:prstGeom>
          <a:effectLst>
            <a:outerShdw blurRad="50800" dist="38100" dir="2700000" sx="95000" sy="95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3" name="Picture 2" descr="\\192.168.0.210\daten_server\_IN ARBEIT\LIMAGRAIN\0243.15.0574_02 LIM Prozess Markenentwicklung international - Creation\01_PowerPoint\__cereal\LG_Icons_Cereals_red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8450" y="4153871"/>
            <a:ext cx="360000" cy="347899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 descr="\\192.168.0.210\daten_server\_IN ARBEIT\LIMAGRAIN\0243.15.0574_02 LIM Prozess Markenentwicklung international - Creation\01_PowerPoint\__grain maize\LG_Icons_grainMaize_red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6967" y="4171950"/>
            <a:ext cx="360000" cy="348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 descr="\\192.168.0.210\daten_server\_IN ARBEIT\LIMAGRAIN\0243.15.0574_02 LIM Prozess Markenentwicklung international - Creation\01_PowerPoint\__maize\LG_Icons_Maize_red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6581" y="4153871"/>
            <a:ext cx="360000" cy="350848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3" descr="\\192.168.0.210\daten_server\_IN ARBEIT\LIMAGRAIN\0243.15.0574_02 LIM Prozess Markenentwicklung international - Creation\01_PowerPoint\__oil seed rape\LG_Icons_Rape_red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8645" y="4153871"/>
            <a:ext cx="369474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platzhalter 32"/>
          <p:cNvSpPr txBox="1">
            <a:spLocks/>
          </p:cNvSpPr>
          <p:nvPr userDrawn="1"/>
        </p:nvSpPr>
        <p:spPr>
          <a:xfrm>
            <a:off x="895350" y="6442540"/>
            <a:ext cx="1565770" cy="289373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pic>
        <p:nvPicPr>
          <p:cNvPr id="18" name="Bild 11" descr="Limagrain_Logo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5080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9700"/>
            <a:ext cx="8229600" cy="4716463"/>
          </a:xfrm>
        </p:spPr>
        <p:txBody>
          <a:bodyPr/>
          <a:lstStyle>
            <a:lvl1pPr marL="244726" indent="-244726">
              <a:buClr>
                <a:schemeClr val="bg2"/>
              </a:buClr>
              <a:buFont typeface="Webdings" pitchFamily="18" charset="2"/>
              <a:buChar char="="/>
              <a:defRPr/>
            </a:lvl1pPr>
            <a:lvl2pPr marL="548068" indent="-230072">
              <a:buClr>
                <a:srgbClr val="B0BA25"/>
              </a:buClr>
              <a:buFont typeface="Wingdings 2" pitchFamily="18" charset="2"/>
              <a:buChar char=""/>
              <a:defRPr/>
            </a:lvl2pPr>
            <a:lvl3pPr marL="962782" indent="-250587">
              <a:buClr>
                <a:schemeClr val="tx2"/>
              </a:buClr>
              <a:buFont typeface="Arial" pitchFamily="34" charset="0"/>
              <a:buChar char="–"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4332863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5285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494892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all species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914400" y="4125239"/>
            <a:ext cx="8229600" cy="219790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6939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1060450" y="5408506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Freihandform 14"/>
          <p:cNvSpPr/>
          <p:nvPr userDrawn="1"/>
        </p:nvSpPr>
        <p:spPr>
          <a:xfrm>
            <a:off x="1060252" y="436381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69390" y="4443944"/>
            <a:ext cx="7942530" cy="9645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lide for all </a:t>
            </a:r>
            <a:r>
              <a:rPr lang="fr-FR" dirty="0" err="1"/>
              <a:t>species</a:t>
            </a:r>
            <a:r>
              <a:rPr lang="fr-FR" dirty="0"/>
              <a:t> for </a:t>
            </a:r>
            <a:r>
              <a:rPr lang="fr-FR" dirty="0" err="1"/>
              <a:t>example</a:t>
            </a:r>
            <a:endParaRPr lang="fr-FR" dirty="0"/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pic>
        <p:nvPicPr>
          <p:cNvPr id="13" name="Bild 31" descr="LG_Icons_Sunflower_red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9751" y="3886332"/>
            <a:ext cx="359664" cy="350520"/>
          </a:xfrm>
          <a:prstGeom prst="rect">
            <a:avLst/>
          </a:prstGeom>
          <a:effectLst>
            <a:outerShdw blurRad="50800" dist="38100" dir="2700000" sx="95000" sy="95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8" name="Picture 2" descr="\\192.168.0.210\daten_server\_IN ARBEIT\LIMAGRAIN\0243.15.0574_02 LIM Prozess Markenentwicklung international - Creation\01_PowerPoint\__cereal\LG_Icons_Cereals_red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8450" y="3877646"/>
            <a:ext cx="360000" cy="347899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\\192.168.0.210\daten_server\_IN ARBEIT\LIMAGRAIN\0243.15.0574_02 LIM Prozess Markenentwicklung international - Creation\01_PowerPoint\__grain maize\LG_Icons_grainMaize_red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6967" y="3895725"/>
            <a:ext cx="360000" cy="348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7" descr="\\192.168.0.210\daten_server\_IN ARBEIT\LIMAGRAIN\0243.15.0574_02 LIM Prozess Markenentwicklung international - Creation\01_PowerPoint\__maize\LG_Icons_Maize_red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26581" y="3877646"/>
            <a:ext cx="360000" cy="350848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3" descr="\\192.168.0.210\daten_server\_IN ARBEIT\LIMAGRAIN\0243.15.0574_02 LIM Prozess Markenentwicklung international - Creation\01_PowerPoint\__oil seed rape\LG_Icons_Rape_red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8645" y="3877646"/>
            <a:ext cx="369474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Bild 11" descr="Limagrain_Logo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9" name="Image 1"/>
          <p:cNvPicPr>
            <a:picLocks noChangeAspect="1"/>
          </p:cNvPicPr>
          <p:nvPr userDrawn="1"/>
        </p:nvPicPr>
        <p:blipFill>
          <a:blip r:embed="rId10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270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72999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ihandform 8"/>
          <p:cNvSpPr/>
          <p:nvPr userDrawn="1"/>
        </p:nvSpPr>
        <p:spPr>
          <a:xfrm>
            <a:off x="603052" y="482950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10" name="Freihandform 9"/>
          <p:cNvSpPr/>
          <p:nvPr userDrawn="1"/>
        </p:nvSpPr>
        <p:spPr>
          <a:xfrm>
            <a:off x="603052" y="5322875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638709" y="192979"/>
            <a:ext cx="6603387" cy="802717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Headline</a:t>
            </a:r>
          </a:p>
        </p:txBody>
      </p:sp>
      <p:sp>
        <p:nvSpPr>
          <p:cNvPr id="21" name="Textplatzhalter 32"/>
          <p:cNvSpPr txBox="1">
            <a:spLocks/>
          </p:cNvSpPr>
          <p:nvPr userDrawn="1"/>
        </p:nvSpPr>
        <p:spPr>
          <a:xfrm>
            <a:off x="323187" y="6462467"/>
            <a:ext cx="1565770" cy="2893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638709" y="732171"/>
            <a:ext cx="6603387" cy="717550"/>
          </a:xfrm>
        </p:spPr>
        <p:txBody>
          <a:bodyPr>
            <a:noAutofit/>
          </a:bodyPr>
          <a:lstStyle>
            <a:lvl1pPr marL="0" indent="0">
              <a:buNone/>
              <a:defRPr b="1">
                <a:solidFill>
                  <a:srgbClr val="77777A"/>
                </a:solidFill>
              </a:defRPr>
            </a:lvl1pPr>
          </a:lstStyle>
          <a:p>
            <a:pPr lvl="0"/>
            <a:r>
              <a:rPr lang="fr-FR" dirty="0" err="1"/>
              <a:t>Subhead</a:t>
            </a:r>
            <a:endParaRPr lang="fr-FR" dirty="0"/>
          </a:p>
        </p:txBody>
      </p:sp>
      <p:cxnSp>
        <p:nvCxnSpPr>
          <p:cNvPr id="16" name="Gerade Verbindung 15"/>
          <p:cNvCxnSpPr/>
          <p:nvPr userDrawn="1"/>
        </p:nvCxnSpPr>
        <p:spPr>
          <a:xfrm flipV="1">
            <a:off x="386397" y="6381038"/>
            <a:ext cx="8757603" cy="6318"/>
          </a:xfrm>
          <a:prstGeom prst="line">
            <a:avLst/>
          </a:prstGeom>
          <a:ln w="12700" cmpd="sng">
            <a:solidFill>
              <a:srgbClr val="E300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/>
          <p:cNvSpPr>
            <a:spLocks noGrp="1"/>
          </p:cNvSpPr>
          <p:nvPr>
            <p:ph idx="1" hasCustomPrompt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>
              <a:buSzPct val="75000"/>
              <a:buFontTx/>
              <a:buBlip>
                <a:blip r:embed="rId7"/>
              </a:buBlip>
              <a:defRPr baseline="0"/>
            </a:lvl1pPr>
            <a:lvl2pPr>
              <a:defRPr/>
            </a:lvl2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bullet</a:t>
            </a:r>
            <a:r>
              <a:rPr lang="fr-FR" dirty="0"/>
              <a:t> point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bullet</a:t>
            </a:r>
            <a:r>
              <a:rPr lang="fr-FR" dirty="0"/>
              <a:t> point</a:t>
            </a:r>
          </a:p>
        </p:txBody>
      </p:sp>
      <p:pic>
        <p:nvPicPr>
          <p:cNvPr id="12" name="Bild 11" descr="Limagrain_Logo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3560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ihandform 8"/>
          <p:cNvSpPr/>
          <p:nvPr userDrawn="1"/>
        </p:nvSpPr>
        <p:spPr>
          <a:xfrm>
            <a:off x="603052" y="482950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10" name="Freihandform 9"/>
          <p:cNvSpPr/>
          <p:nvPr userDrawn="1"/>
        </p:nvSpPr>
        <p:spPr>
          <a:xfrm>
            <a:off x="603052" y="5322875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638709" y="75544"/>
            <a:ext cx="6603387" cy="826316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algn="l">
              <a:defRPr sz="3200" b="1" baseline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Content / 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638709" y="732171"/>
            <a:ext cx="6603387" cy="717550"/>
          </a:xfrm>
        </p:spPr>
        <p:txBody>
          <a:bodyPr>
            <a:noAutofit/>
          </a:bodyPr>
          <a:lstStyle>
            <a:lvl1pPr marL="0" indent="0">
              <a:buNone/>
              <a:defRPr b="1" baseline="0">
                <a:solidFill>
                  <a:srgbClr val="77777A"/>
                </a:solidFill>
              </a:defRPr>
            </a:lvl1pPr>
          </a:lstStyle>
          <a:p>
            <a:pPr lvl="0"/>
            <a:r>
              <a:rPr lang="fr-FR" dirty="0" err="1"/>
              <a:t>Subhead</a:t>
            </a:r>
            <a:r>
              <a:rPr lang="fr-FR" dirty="0"/>
              <a:t>, if </a:t>
            </a:r>
            <a:r>
              <a:rPr lang="fr-FR" dirty="0" err="1"/>
              <a:t>necessary</a:t>
            </a:r>
            <a:endParaRPr lang="fr-FR" dirty="0"/>
          </a:p>
        </p:txBody>
      </p:sp>
      <p:cxnSp>
        <p:nvCxnSpPr>
          <p:cNvPr id="16" name="Gerade Verbindung 15"/>
          <p:cNvCxnSpPr/>
          <p:nvPr userDrawn="1"/>
        </p:nvCxnSpPr>
        <p:spPr>
          <a:xfrm flipV="1">
            <a:off x="386397" y="6381038"/>
            <a:ext cx="8757603" cy="6318"/>
          </a:xfrm>
          <a:prstGeom prst="line">
            <a:avLst/>
          </a:prstGeom>
          <a:ln w="12700" cmpd="sng">
            <a:solidFill>
              <a:srgbClr val="E300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2"/>
          <p:cNvSpPr>
            <a:spLocks noGrp="1"/>
          </p:cNvSpPr>
          <p:nvPr>
            <p:ph idx="1" hasCustomPrompt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457200" indent="-457200">
              <a:buClr>
                <a:schemeClr val="tx1"/>
              </a:buClr>
              <a:buSzPct val="75000"/>
              <a:buFont typeface="+mj-lt"/>
              <a:buAutoNum type="arabicPeriod"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opic</a:t>
            </a:r>
          </a:p>
          <a:p>
            <a:pPr lvl="0"/>
            <a:r>
              <a:rPr lang="fr-FR" dirty="0"/>
              <a:t>Topic</a:t>
            </a:r>
          </a:p>
          <a:p>
            <a:pPr lvl="0"/>
            <a:r>
              <a:rPr lang="fr-FR" dirty="0"/>
              <a:t>Topic</a:t>
            </a:r>
          </a:p>
          <a:p>
            <a:pPr lvl="0"/>
            <a:endParaRPr lang="fr-FR" dirty="0"/>
          </a:p>
        </p:txBody>
      </p:sp>
      <p:sp>
        <p:nvSpPr>
          <p:cNvPr id="11" name="Textplatzhalter 32"/>
          <p:cNvSpPr txBox="1">
            <a:spLocks/>
          </p:cNvSpPr>
          <p:nvPr userDrawn="1"/>
        </p:nvSpPr>
        <p:spPr>
          <a:xfrm>
            <a:off x="323187" y="6462467"/>
            <a:ext cx="1565770" cy="2893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pic>
        <p:nvPicPr>
          <p:cNvPr id="12" name="Bild 11" descr="Limagrain_Log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2481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192633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ihandform 8"/>
          <p:cNvSpPr/>
          <p:nvPr userDrawn="1"/>
        </p:nvSpPr>
        <p:spPr>
          <a:xfrm>
            <a:off x="603052" y="482950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10" name="Freihandform 9"/>
          <p:cNvSpPr/>
          <p:nvPr userDrawn="1"/>
        </p:nvSpPr>
        <p:spPr>
          <a:xfrm>
            <a:off x="603052" y="5322875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638709" y="192979"/>
            <a:ext cx="7048091" cy="802717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Headline</a:t>
            </a:r>
          </a:p>
        </p:txBody>
      </p:sp>
      <p:sp>
        <p:nvSpPr>
          <p:cNvPr id="21" name="Textplatzhalter 32"/>
          <p:cNvSpPr txBox="1">
            <a:spLocks/>
          </p:cNvSpPr>
          <p:nvPr userDrawn="1"/>
        </p:nvSpPr>
        <p:spPr>
          <a:xfrm>
            <a:off x="323187" y="6462467"/>
            <a:ext cx="1565770" cy="2893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cxnSp>
        <p:nvCxnSpPr>
          <p:cNvPr id="16" name="Gerade Verbindung 15"/>
          <p:cNvCxnSpPr/>
          <p:nvPr userDrawn="1"/>
        </p:nvCxnSpPr>
        <p:spPr>
          <a:xfrm flipV="1">
            <a:off x="386397" y="6381038"/>
            <a:ext cx="8757603" cy="6318"/>
          </a:xfrm>
          <a:prstGeom prst="line">
            <a:avLst/>
          </a:prstGeom>
          <a:ln w="12700" cmpd="sng">
            <a:solidFill>
              <a:srgbClr val="E300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Bild 11" descr="Limagrain_Log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1573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sp>
        <p:nvSpPr>
          <p:cNvPr id="28" name="Titel 1"/>
          <p:cNvSpPr>
            <a:spLocks noGrp="1"/>
          </p:cNvSpPr>
          <p:nvPr>
            <p:ph type="title" hasCustomPrompt="1"/>
          </p:nvPr>
        </p:nvSpPr>
        <p:spPr>
          <a:xfrm>
            <a:off x="1638709" y="75544"/>
            <a:ext cx="6603387" cy="826316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>
              <a:lnSpc>
                <a:spcPct val="90000"/>
              </a:lnSpc>
              <a:defRPr sz="3200" b="1" baseline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Content / Agend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638709" y="732171"/>
            <a:ext cx="6603387" cy="717550"/>
          </a:xfrm>
        </p:spPr>
        <p:txBody>
          <a:bodyPr/>
          <a:lstStyle>
            <a:lvl1pPr marL="0" indent="0">
              <a:buNone/>
              <a:defRPr b="1" baseline="0">
                <a:solidFill>
                  <a:srgbClr val="77777A"/>
                </a:solidFill>
              </a:defRPr>
            </a:lvl1pPr>
          </a:lstStyle>
          <a:p>
            <a:pPr lvl="0"/>
            <a:r>
              <a:rPr lang="fr-FR" dirty="0"/>
              <a:t>You have to copy the </a:t>
            </a:r>
            <a:r>
              <a:rPr lang="fr-FR" dirty="0" err="1"/>
              <a:t>icons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the slide master to </a:t>
            </a: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presentation</a:t>
            </a:r>
            <a:endParaRPr lang="fr-FR" dirty="0"/>
          </a:p>
        </p:txBody>
      </p:sp>
      <p:cxnSp>
        <p:nvCxnSpPr>
          <p:cNvPr id="16" name="Gerade Verbindung 15"/>
          <p:cNvCxnSpPr/>
          <p:nvPr userDrawn="1"/>
        </p:nvCxnSpPr>
        <p:spPr>
          <a:xfrm flipV="1">
            <a:off x="386397" y="6381038"/>
            <a:ext cx="8757603" cy="6318"/>
          </a:xfrm>
          <a:prstGeom prst="line">
            <a:avLst/>
          </a:prstGeom>
          <a:ln w="12700" cmpd="sng">
            <a:solidFill>
              <a:srgbClr val="E300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6" descr="\\192.168.0.210\daten_server\_IN ARBEIT\LIMAGRAIN\0243.15.0574_02 LIM Prozess Markenentwicklung international - Creation\01_PowerPoint\__grain maize\LG_Icons_grainMaize_red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132" y="2121828"/>
            <a:ext cx="372414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Bild 31" descr="LG_Icons_Sunflower_red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882" y="3159666"/>
            <a:ext cx="359664" cy="350520"/>
          </a:xfrm>
          <a:prstGeom prst="rect">
            <a:avLst/>
          </a:prstGeom>
          <a:effectLst>
            <a:outerShdw blurRad="50800" dist="38100" dir="2700000" sx="95000" sy="95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0" name="Picture 2" descr="\\192.168.0.210\daten_server\_IN ARBEIT\LIMAGRAIN\0243.15.0574_02 LIM Prozess Markenentwicklung international - Creation\01_PowerPoint\__cereal\LG_Icons_Cereals_red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546" y="2649026"/>
            <a:ext cx="360000" cy="347899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C:\Users\nba\Desktop\LG_Red_Dot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882" y="1621200"/>
            <a:ext cx="360000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1643838" y="1581150"/>
            <a:ext cx="6239687" cy="400050"/>
          </a:xfrm>
          <a:ln w="19050">
            <a:solidFill>
              <a:srgbClr val="FF0000"/>
            </a:solidFill>
          </a:ln>
        </p:spPr>
        <p:txBody>
          <a:bodyPr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/>
              <a:t>General Topic</a:t>
            </a:r>
          </a:p>
        </p:txBody>
      </p:sp>
      <p:sp>
        <p:nvSpPr>
          <p:cNvPr id="25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1643838" y="2101803"/>
            <a:ext cx="6239687" cy="400050"/>
          </a:xfrm>
          <a:ln w="19050">
            <a:solidFill>
              <a:srgbClr val="FF0000"/>
            </a:solidFill>
          </a:ln>
        </p:spPr>
        <p:txBody>
          <a:bodyPr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 err="1"/>
              <a:t>Maize</a:t>
            </a:r>
            <a:r>
              <a:rPr lang="fr-FR" dirty="0"/>
              <a:t> Topic</a:t>
            </a:r>
          </a:p>
        </p:txBody>
      </p:sp>
      <p:sp>
        <p:nvSpPr>
          <p:cNvPr id="27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1643549" y="2622950"/>
            <a:ext cx="6239687" cy="400050"/>
          </a:xfrm>
          <a:ln w="19050">
            <a:solidFill>
              <a:srgbClr val="FF0000"/>
            </a:solidFill>
          </a:ln>
        </p:spPr>
        <p:txBody>
          <a:bodyPr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 err="1"/>
              <a:t>Wheat</a:t>
            </a:r>
            <a:r>
              <a:rPr lang="fr-FR" dirty="0"/>
              <a:t> Topic</a:t>
            </a:r>
          </a:p>
        </p:txBody>
      </p:sp>
      <p:sp>
        <p:nvSpPr>
          <p:cNvPr id="29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1643838" y="3131091"/>
            <a:ext cx="6239687" cy="400050"/>
          </a:xfrm>
          <a:ln w="19050">
            <a:solidFill>
              <a:srgbClr val="FF0000"/>
            </a:solidFill>
          </a:ln>
        </p:spPr>
        <p:txBody>
          <a:bodyPr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 err="1"/>
              <a:t>Sunflower</a:t>
            </a:r>
            <a:r>
              <a:rPr lang="fr-FR" dirty="0"/>
              <a:t> Topic</a:t>
            </a:r>
          </a:p>
        </p:txBody>
      </p:sp>
      <p:sp>
        <p:nvSpPr>
          <p:cNvPr id="30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1643838" y="3690432"/>
            <a:ext cx="6239687" cy="400050"/>
          </a:xfrm>
          <a:ln w="19050">
            <a:solidFill>
              <a:srgbClr val="FF0000"/>
            </a:solidFill>
          </a:ln>
        </p:spPr>
        <p:txBody>
          <a:bodyPr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 err="1"/>
              <a:t>Oilseed</a:t>
            </a:r>
            <a:r>
              <a:rPr lang="fr-FR" dirty="0"/>
              <a:t> </a:t>
            </a:r>
            <a:r>
              <a:rPr lang="fr-FR" dirty="0" err="1"/>
              <a:t>rape</a:t>
            </a:r>
            <a:r>
              <a:rPr lang="fr-FR" dirty="0"/>
              <a:t> Topic</a:t>
            </a:r>
          </a:p>
        </p:txBody>
      </p:sp>
      <p:sp>
        <p:nvSpPr>
          <p:cNvPr id="31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1643549" y="4207416"/>
            <a:ext cx="6239687" cy="400050"/>
          </a:xfrm>
          <a:ln w="19050">
            <a:solidFill>
              <a:srgbClr val="FF0000"/>
            </a:solidFill>
          </a:ln>
        </p:spPr>
        <p:txBody>
          <a:bodyPr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 err="1"/>
              <a:t>Soybean</a:t>
            </a:r>
            <a:r>
              <a:rPr lang="fr-FR" dirty="0"/>
              <a:t> Topic</a:t>
            </a:r>
          </a:p>
        </p:txBody>
      </p:sp>
      <p:sp>
        <p:nvSpPr>
          <p:cNvPr id="32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1643838" y="4759866"/>
            <a:ext cx="6239687" cy="400050"/>
          </a:xfrm>
          <a:ln w="19050">
            <a:solidFill>
              <a:srgbClr val="FF0000"/>
            </a:solidFill>
          </a:ln>
        </p:spPr>
        <p:txBody>
          <a:bodyPr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 err="1"/>
              <a:t>Barley</a:t>
            </a:r>
            <a:r>
              <a:rPr lang="fr-FR" dirty="0"/>
              <a:t> Topic</a:t>
            </a:r>
          </a:p>
        </p:txBody>
      </p:sp>
      <p:sp>
        <p:nvSpPr>
          <p:cNvPr id="33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1643838" y="5245641"/>
            <a:ext cx="6239687" cy="400050"/>
          </a:xfrm>
          <a:ln w="19050">
            <a:solidFill>
              <a:srgbClr val="FF0000"/>
            </a:solidFill>
          </a:ln>
        </p:spPr>
        <p:txBody>
          <a:bodyPr/>
          <a:lstStyle>
            <a:lvl1pPr marL="0" indent="0">
              <a:buNone/>
              <a:defRPr sz="1600" b="1" baseline="0"/>
            </a:lvl1pPr>
          </a:lstStyle>
          <a:p>
            <a:pPr lvl="0"/>
            <a:r>
              <a:rPr lang="fr-FR" dirty="0" err="1"/>
              <a:t>Lindseed</a:t>
            </a:r>
            <a:r>
              <a:rPr lang="fr-FR" dirty="0"/>
              <a:t> Topic</a:t>
            </a:r>
          </a:p>
        </p:txBody>
      </p:sp>
      <p:pic>
        <p:nvPicPr>
          <p:cNvPr id="34" name="Picture 2" descr="\\192.168.0.210\daten_server\_IN ARBEIT\LIMAGRAIN\0243.15.0574_02 LIM Prozess Markenentwicklung international - Creation\01_PowerPoint\__barley\LG_Icons_Barley_red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356" y="4802274"/>
            <a:ext cx="371475" cy="36195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3" descr="\\192.168.0.210\daten_server\_IN ARBEIT\LIMAGRAIN\0243.15.0574_02 LIM Prozess Markenentwicklung international - Creation\01_PowerPoint\__oil seed rape\LG_Icons_Rape_red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809" y="3719007"/>
            <a:ext cx="369474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" descr="\\192.168.0.210\daten_server\_IN ARBEIT\LIMAGRAIN\0243.15.0574_02 LIM Prozess Markenentwicklung international - Creation\01_PowerPoint\__Soybean\LG_Icons_Soybean_red.png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356" y="4248123"/>
            <a:ext cx="362927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" descr="C:\Users\nba\Desktop\PowerPoint_LG\PowerPoint_LG\LG_Icons_lindseed_red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360" y="5276166"/>
            <a:ext cx="360000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platzhalter 32"/>
          <p:cNvSpPr txBox="1">
            <a:spLocks/>
          </p:cNvSpPr>
          <p:nvPr userDrawn="1"/>
        </p:nvSpPr>
        <p:spPr>
          <a:xfrm>
            <a:off x="323187" y="6462467"/>
            <a:ext cx="1565770" cy="2893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pic>
        <p:nvPicPr>
          <p:cNvPr id="24" name="Bild 11" descr="Limagrain_Logo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4149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238871" y="182200"/>
            <a:ext cx="6603387" cy="462124"/>
          </a:xfrm>
        </p:spPr>
        <p:txBody>
          <a:bodyPr/>
          <a:lstStyle>
            <a:lvl1pPr marL="0" indent="0">
              <a:buNone/>
              <a:defRPr b="1" baseline="0">
                <a:solidFill>
                  <a:srgbClr val="77777A"/>
                </a:solidFill>
              </a:defRPr>
            </a:lvl1pPr>
          </a:lstStyle>
          <a:p>
            <a:pPr lvl="0"/>
            <a:r>
              <a:rPr lang="fr-FR" dirty="0"/>
              <a:t>For </a:t>
            </a:r>
            <a:r>
              <a:rPr lang="fr-FR" dirty="0" err="1"/>
              <a:t>using</a:t>
            </a:r>
            <a:r>
              <a:rPr lang="fr-FR" dirty="0"/>
              <a:t> </a:t>
            </a:r>
            <a:r>
              <a:rPr lang="fr-FR" dirty="0" err="1"/>
              <a:t>these</a:t>
            </a:r>
            <a:r>
              <a:rPr lang="fr-FR" dirty="0"/>
              <a:t> items, </a:t>
            </a:r>
            <a:r>
              <a:rPr lang="fr-FR" dirty="0" err="1"/>
              <a:t>please</a:t>
            </a:r>
            <a:r>
              <a:rPr lang="fr-FR" dirty="0"/>
              <a:t> open the </a:t>
            </a:r>
            <a:r>
              <a:rPr lang="fr-FR" dirty="0" err="1"/>
              <a:t>mask</a:t>
            </a:r>
            <a:endParaRPr lang="fr-FR" dirty="0"/>
          </a:p>
        </p:txBody>
      </p:sp>
      <p:cxnSp>
        <p:nvCxnSpPr>
          <p:cNvPr id="16" name="Gerade Verbindung 15"/>
          <p:cNvCxnSpPr/>
          <p:nvPr userDrawn="1"/>
        </p:nvCxnSpPr>
        <p:spPr>
          <a:xfrm flipV="1">
            <a:off x="386397" y="6381038"/>
            <a:ext cx="8757603" cy="6318"/>
          </a:xfrm>
          <a:prstGeom prst="line">
            <a:avLst/>
          </a:prstGeom>
          <a:ln w="12700" cmpd="sng">
            <a:solidFill>
              <a:srgbClr val="E300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Bild 5" descr="LG_Icons_Cereals_whit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0537" y="2722554"/>
            <a:ext cx="609495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3" name="Bild 15" descr="icon_cotton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9307" y="2073860"/>
            <a:ext cx="588880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7" name="Bild 21" descr="icon_fodder-beet_white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1862" y="1339708"/>
            <a:ext cx="609495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0" name="Bild 24" descr="LG_Icons_Forage_white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8563" y="5614503"/>
            <a:ext cx="588880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2" name="Bild 26" descr="LG_Icons_grainMaize_white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7493" y="1287796"/>
            <a:ext cx="609361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4" name="Bild 28" descr="LG_Icons_Maize_white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7968" y="1996224"/>
            <a:ext cx="609495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6" name="Bild 30" descr="LG_Icons_Peas_white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8216" y="622888"/>
            <a:ext cx="609496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7" name="Bild 31" descr="LG_Icons_Sunflower_red.png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5769" y="3590991"/>
            <a:ext cx="359664" cy="350520"/>
          </a:xfrm>
          <a:prstGeom prst="rect">
            <a:avLst/>
          </a:prstGeom>
          <a:effectLst>
            <a:outerShdw blurRad="50800" dist="38100" dir="2700000" sx="95000" sy="95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0" name="Bild 34" descr="LG_Icons_Rape_white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6543" y="4170132"/>
            <a:ext cx="609496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Textfeld 5"/>
          <p:cNvSpPr txBox="1"/>
          <p:nvPr userDrawn="1"/>
        </p:nvSpPr>
        <p:spPr>
          <a:xfrm>
            <a:off x="357822" y="1432266"/>
            <a:ext cx="1252312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Maize</a:t>
            </a:r>
            <a:r>
              <a:rPr lang="fr-FR" sz="1300" dirty="0">
                <a:solidFill>
                  <a:schemeClr val="tx1"/>
                </a:solidFill>
              </a:rPr>
              <a:t> (grain)</a:t>
            </a:r>
          </a:p>
        </p:txBody>
      </p:sp>
      <p:sp>
        <p:nvSpPr>
          <p:cNvPr id="42" name="Rectangle 63"/>
          <p:cNvSpPr/>
          <p:nvPr userDrawn="1"/>
        </p:nvSpPr>
        <p:spPr>
          <a:xfrm>
            <a:off x="3406638" y="1456112"/>
            <a:ext cx="394138" cy="299545"/>
          </a:xfrm>
          <a:prstGeom prst="rect">
            <a:avLst/>
          </a:prstGeom>
          <a:solidFill>
            <a:srgbClr val="84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44" name="Textfeld 43"/>
          <p:cNvSpPr txBox="1"/>
          <p:nvPr userDrawn="1"/>
        </p:nvSpPr>
        <p:spPr>
          <a:xfrm>
            <a:off x="357822" y="2818817"/>
            <a:ext cx="774047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Wheat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45" name="Textfeld 44"/>
          <p:cNvSpPr txBox="1"/>
          <p:nvPr userDrawn="1"/>
        </p:nvSpPr>
        <p:spPr>
          <a:xfrm>
            <a:off x="357822" y="3548159"/>
            <a:ext cx="919251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Sunflower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 userDrawn="1"/>
        </p:nvSpPr>
        <p:spPr>
          <a:xfrm>
            <a:off x="357822" y="4297234"/>
            <a:ext cx="121443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Oilseed</a:t>
            </a:r>
            <a:r>
              <a:rPr lang="fr-FR" sz="1300" dirty="0">
                <a:solidFill>
                  <a:schemeClr val="tx1"/>
                </a:solidFill>
              </a:rPr>
              <a:t> </a:t>
            </a:r>
            <a:r>
              <a:rPr lang="fr-FR" sz="1300" dirty="0" err="1">
                <a:solidFill>
                  <a:schemeClr val="tx1"/>
                </a:solidFill>
              </a:rPr>
              <a:t>Rape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47" name="Textfeld 46"/>
          <p:cNvSpPr txBox="1"/>
          <p:nvPr userDrawn="1"/>
        </p:nvSpPr>
        <p:spPr>
          <a:xfrm>
            <a:off x="357822" y="4982711"/>
            <a:ext cx="741987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Barley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48" name="Textfeld 47"/>
          <p:cNvSpPr txBox="1"/>
          <p:nvPr userDrawn="1"/>
        </p:nvSpPr>
        <p:spPr>
          <a:xfrm>
            <a:off x="357822" y="5754782"/>
            <a:ext cx="79411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>
                <a:solidFill>
                  <a:schemeClr val="tx1"/>
                </a:solidFill>
              </a:rPr>
              <a:t>Forage</a:t>
            </a:r>
          </a:p>
        </p:txBody>
      </p:sp>
      <p:sp>
        <p:nvSpPr>
          <p:cNvPr id="49" name="Textfeld 48"/>
          <p:cNvSpPr txBox="1"/>
          <p:nvPr userDrawn="1"/>
        </p:nvSpPr>
        <p:spPr>
          <a:xfrm>
            <a:off x="4924212" y="817738"/>
            <a:ext cx="708636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Peas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50" name="Textfeld 49"/>
          <p:cNvSpPr txBox="1"/>
          <p:nvPr userDrawn="1"/>
        </p:nvSpPr>
        <p:spPr>
          <a:xfrm>
            <a:off x="4924212" y="1463847"/>
            <a:ext cx="121443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Fodder</a:t>
            </a:r>
            <a:r>
              <a:rPr lang="fr-FR" sz="1300" baseline="0" dirty="0">
                <a:solidFill>
                  <a:schemeClr val="tx1"/>
                </a:solidFill>
              </a:rPr>
              <a:t> </a:t>
            </a:r>
            <a:r>
              <a:rPr lang="fr-FR" sz="1300" baseline="0" dirty="0" err="1">
                <a:solidFill>
                  <a:schemeClr val="tx1"/>
                </a:solidFill>
              </a:rPr>
              <a:t>Beet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51" name="Textfeld 50"/>
          <p:cNvSpPr txBox="1"/>
          <p:nvPr userDrawn="1"/>
        </p:nvSpPr>
        <p:spPr>
          <a:xfrm>
            <a:off x="4924212" y="2174987"/>
            <a:ext cx="121443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>
                <a:solidFill>
                  <a:schemeClr val="tx1"/>
                </a:solidFill>
              </a:rPr>
              <a:t>Cotton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4924212" y="2916362"/>
            <a:ext cx="121443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Sorghum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53" name="Textfeld 52"/>
          <p:cNvSpPr txBox="1"/>
          <p:nvPr userDrawn="1"/>
        </p:nvSpPr>
        <p:spPr>
          <a:xfrm>
            <a:off x="4924212" y="3718281"/>
            <a:ext cx="121443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>
                <a:solidFill>
                  <a:schemeClr val="tx1"/>
                </a:solidFill>
              </a:rPr>
              <a:t>Mille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4924212" y="4362386"/>
            <a:ext cx="121443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Soybean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55" name="Textfeld 54"/>
          <p:cNvSpPr txBox="1"/>
          <p:nvPr userDrawn="1"/>
        </p:nvSpPr>
        <p:spPr>
          <a:xfrm>
            <a:off x="4924212" y="5086079"/>
            <a:ext cx="121443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Rice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56" name="Rectangle 13"/>
          <p:cNvSpPr/>
          <p:nvPr userDrawn="1"/>
        </p:nvSpPr>
        <p:spPr>
          <a:xfrm>
            <a:off x="3408607" y="2149024"/>
            <a:ext cx="394138" cy="299545"/>
          </a:xfrm>
          <a:prstGeom prst="rect">
            <a:avLst/>
          </a:prstGeom>
          <a:solidFill>
            <a:srgbClr val="B5D7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57" name="Rectangle 66"/>
          <p:cNvSpPr/>
          <p:nvPr userDrawn="1"/>
        </p:nvSpPr>
        <p:spPr>
          <a:xfrm>
            <a:off x="3408543" y="2840021"/>
            <a:ext cx="394138" cy="299545"/>
          </a:xfrm>
          <a:prstGeom prst="rect">
            <a:avLst/>
          </a:prstGeom>
          <a:solidFill>
            <a:srgbClr val="00A9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58" name="Rectangle 9"/>
          <p:cNvSpPr/>
          <p:nvPr userDrawn="1"/>
        </p:nvSpPr>
        <p:spPr>
          <a:xfrm>
            <a:off x="3414734" y="5040828"/>
            <a:ext cx="394138" cy="299545"/>
          </a:xfrm>
          <a:prstGeom prst="rect">
            <a:avLst/>
          </a:prstGeom>
          <a:solidFill>
            <a:srgbClr val="66C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59" name="Rectangle 60"/>
          <p:cNvSpPr/>
          <p:nvPr userDrawn="1"/>
        </p:nvSpPr>
        <p:spPr>
          <a:xfrm>
            <a:off x="7755458" y="4311334"/>
            <a:ext cx="394138" cy="299545"/>
          </a:xfrm>
          <a:prstGeom prst="rect">
            <a:avLst/>
          </a:prstGeom>
          <a:solidFill>
            <a:srgbClr val="E877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60" name="Rectangle 23"/>
          <p:cNvSpPr/>
          <p:nvPr userDrawn="1"/>
        </p:nvSpPr>
        <p:spPr>
          <a:xfrm>
            <a:off x="3413739" y="3574815"/>
            <a:ext cx="394138" cy="274905"/>
          </a:xfrm>
          <a:prstGeom prst="rect">
            <a:avLst/>
          </a:prstGeom>
          <a:solidFill>
            <a:srgbClr val="FFC7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61" name="Rectangle 17"/>
          <p:cNvSpPr/>
          <p:nvPr userDrawn="1"/>
        </p:nvSpPr>
        <p:spPr>
          <a:xfrm>
            <a:off x="3423682" y="4364410"/>
            <a:ext cx="394138" cy="299545"/>
          </a:xfrm>
          <a:prstGeom prst="rect">
            <a:avLst/>
          </a:prstGeom>
          <a:solidFill>
            <a:srgbClr val="F1A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62" name="Rectangle 81"/>
          <p:cNvSpPr/>
          <p:nvPr userDrawn="1"/>
        </p:nvSpPr>
        <p:spPr>
          <a:xfrm>
            <a:off x="7768496" y="4992233"/>
            <a:ext cx="394138" cy="299545"/>
          </a:xfrm>
          <a:prstGeom prst="rect">
            <a:avLst/>
          </a:prstGeom>
          <a:solidFill>
            <a:srgbClr val="E31C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63" name="Rectangle 54"/>
          <p:cNvSpPr/>
          <p:nvPr userDrawn="1"/>
        </p:nvSpPr>
        <p:spPr>
          <a:xfrm>
            <a:off x="7749960" y="2895792"/>
            <a:ext cx="394138" cy="299545"/>
          </a:xfrm>
          <a:prstGeom prst="rect">
            <a:avLst/>
          </a:prstGeom>
          <a:solidFill>
            <a:srgbClr val="6747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64" name="Rectangle 56"/>
          <p:cNvSpPr/>
          <p:nvPr userDrawn="1"/>
        </p:nvSpPr>
        <p:spPr>
          <a:xfrm>
            <a:off x="7768496" y="3658084"/>
            <a:ext cx="394138" cy="299545"/>
          </a:xfrm>
          <a:prstGeom prst="rect">
            <a:avLst/>
          </a:prstGeom>
          <a:solidFill>
            <a:srgbClr val="9E6A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65" name="Rectangle 91"/>
          <p:cNvSpPr/>
          <p:nvPr userDrawn="1"/>
        </p:nvSpPr>
        <p:spPr>
          <a:xfrm>
            <a:off x="7747418" y="1504322"/>
            <a:ext cx="394138" cy="299545"/>
          </a:xfrm>
          <a:prstGeom prst="rect">
            <a:avLst/>
          </a:prstGeom>
          <a:solidFill>
            <a:srgbClr val="6847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66" name="ZoneTexte 64"/>
          <p:cNvSpPr txBox="1"/>
          <p:nvPr userDrawn="1"/>
        </p:nvSpPr>
        <p:spPr>
          <a:xfrm>
            <a:off x="3049082" y="1730616"/>
            <a:ext cx="12957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/>
              <a:t>(RGB : 132-189-0)</a:t>
            </a:r>
          </a:p>
        </p:txBody>
      </p:sp>
      <p:sp>
        <p:nvSpPr>
          <p:cNvPr id="67" name="ZoneTexte 14"/>
          <p:cNvSpPr txBox="1"/>
          <p:nvPr userDrawn="1"/>
        </p:nvSpPr>
        <p:spPr>
          <a:xfrm>
            <a:off x="2987376" y="2404100"/>
            <a:ext cx="14528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/>
              <a:t>(RGB : 181-215-102)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357822" y="2121651"/>
            <a:ext cx="121443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Maize</a:t>
            </a:r>
            <a:r>
              <a:rPr lang="fr-FR" sz="1300" dirty="0">
                <a:solidFill>
                  <a:schemeClr val="tx1"/>
                </a:solidFill>
              </a:rPr>
              <a:t> (</a:t>
            </a:r>
            <a:r>
              <a:rPr lang="fr-FR" sz="1300" dirty="0" err="1">
                <a:solidFill>
                  <a:schemeClr val="tx1"/>
                </a:solidFill>
              </a:rPr>
              <a:t>silage</a:t>
            </a:r>
            <a:r>
              <a:rPr lang="fr-FR" sz="13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69" name="ZoneTexte 14"/>
          <p:cNvSpPr txBox="1"/>
          <p:nvPr userDrawn="1"/>
        </p:nvSpPr>
        <p:spPr>
          <a:xfrm>
            <a:off x="3058018" y="3134561"/>
            <a:ext cx="15012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0-169-224)</a:t>
            </a:r>
          </a:p>
        </p:txBody>
      </p:sp>
      <p:sp>
        <p:nvSpPr>
          <p:cNvPr id="70" name="ZoneTexte 14"/>
          <p:cNvSpPr txBox="1"/>
          <p:nvPr userDrawn="1"/>
        </p:nvSpPr>
        <p:spPr>
          <a:xfrm>
            <a:off x="3013875" y="3861140"/>
            <a:ext cx="1545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255-199-44)</a:t>
            </a:r>
          </a:p>
        </p:txBody>
      </p:sp>
      <p:sp>
        <p:nvSpPr>
          <p:cNvPr id="71" name="ZoneTexte 14"/>
          <p:cNvSpPr txBox="1"/>
          <p:nvPr userDrawn="1"/>
        </p:nvSpPr>
        <p:spPr>
          <a:xfrm>
            <a:off x="2996888" y="4671575"/>
            <a:ext cx="16513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241-173-122)</a:t>
            </a:r>
          </a:p>
        </p:txBody>
      </p:sp>
      <p:sp>
        <p:nvSpPr>
          <p:cNvPr id="72" name="ZoneTexte 14"/>
          <p:cNvSpPr txBox="1"/>
          <p:nvPr userDrawn="1"/>
        </p:nvSpPr>
        <p:spPr>
          <a:xfrm>
            <a:off x="3008323" y="5351860"/>
            <a:ext cx="14528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102-203-236)</a:t>
            </a:r>
          </a:p>
        </p:txBody>
      </p:sp>
      <p:sp>
        <p:nvSpPr>
          <p:cNvPr id="73" name="ZoneTexte 14"/>
          <p:cNvSpPr txBox="1"/>
          <p:nvPr userDrawn="1"/>
        </p:nvSpPr>
        <p:spPr>
          <a:xfrm>
            <a:off x="7305763" y="1834287"/>
            <a:ext cx="13742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104-71-141)</a:t>
            </a:r>
          </a:p>
        </p:txBody>
      </p:sp>
      <p:sp>
        <p:nvSpPr>
          <p:cNvPr id="74" name="ZoneTexte 14"/>
          <p:cNvSpPr txBox="1"/>
          <p:nvPr userDrawn="1"/>
        </p:nvSpPr>
        <p:spPr>
          <a:xfrm>
            <a:off x="7361753" y="3190585"/>
            <a:ext cx="13310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103-71-54 )</a:t>
            </a:r>
          </a:p>
        </p:txBody>
      </p:sp>
      <p:sp>
        <p:nvSpPr>
          <p:cNvPr id="75" name="ZoneTexte 14"/>
          <p:cNvSpPr txBox="1"/>
          <p:nvPr userDrawn="1"/>
        </p:nvSpPr>
        <p:spPr>
          <a:xfrm>
            <a:off x="7366418" y="3974345"/>
            <a:ext cx="14095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158-106-56 )</a:t>
            </a:r>
          </a:p>
        </p:txBody>
      </p:sp>
      <p:sp>
        <p:nvSpPr>
          <p:cNvPr id="76" name="ZoneTexte 14"/>
          <p:cNvSpPr txBox="1"/>
          <p:nvPr userDrawn="1"/>
        </p:nvSpPr>
        <p:spPr>
          <a:xfrm>
            <a:off x="7353758" y="4619102"/>
            <a:ext cx="13742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232-119-34)</a:t>
            </a:r>
          </a:p>
        </p:txBody>
      </p:sp>
      <p:sp>
        <p:nvSpPr>
          <p:cNvPr id="77" name="ZoneTexte 14"/>
          <p:cNvSpPr txBox="1"/>
          <p:nvPr userDrawn="1"/>
        </p:nvSpPr>
        <p:spPr>
          <a:xfrm>
            <a:off x="7390822" y="5275372"/>
            <a:ext cx="13742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227-28-121)</a:t>
            </a:r>
          </a:p>
        </p:txBody>
      </p:sp>
      <p:sp>
        <p:nvSpPr>
          <p:cNvPr id="78" name="Rectangle 9"/>
          <p:cNvSpPr/>
          <p:nvPr userDrawn="1"/>
        </p:nvSpPr>
        <p:spPr>
          <a:xfrm>
            <a:off x="7756709" y="2174457"/>
            <a:ext cx="394138" cy="29954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7" name="Rechteck 6"/>
          <p:cNvSpPr/>
          <p:nvPr userDrawn="1"/>
        </p:nvSpPr>
        <p:spPr>
          <a:xfrm>
            <a:off x="7314495" y="2472902"/>
            <a:ext cx="14528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166-166-166)</a:t>
            </a:r>
          </a:p>
        </p:txBody>
      </p:sp>
      <p:sp>
        <p:nvSpPr>
          <p:cNvPr id="79" name="Rectangle 9"/>
          <p:cNvSpPr/>
          <p:nvPr userDrawn="1"/>
        </p:nvSpPr>
        <p:spPr>
          <a:xfrm>
            <a:off x="7747418" y="770115"/>
            <a:ext cx="394138" cy="299545"/>
          </a:xfrm>
          <a:prstGeom prst="rect">
            <a:avLst/>
          </a:prstGeom>
          <a:solidFill>
            <a:srgbClr val="2F6F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80" name="ZoneTexte 14"/>
          <p:cNvSpPr txBox="1"/>
          <p:nvPr userDrawn="1"/>
        </p:nvSpPr>
        <p:spPr>
          <a:xfrm>
            <a:off x="7299072" y="1079219"/>
            <a:ext cx="13310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47-111-49 )</a:t>
            </a:r>
          </a:p>
        </p:txBody>
      </p:sp>
      <p:sp>
        <p:nvSpPr>
          <p:cNvPr id="81" name="Rectangle 9"/>
          <p:cNvSpPr/>
          <p:nvPr userDrawn="1"/>
        </p:nvSpPr>
        <p:spPr>
          <a:xfrm>
            <a:off x="3406638" y="5746710"/>
            <a:ext cx="394138" cy="299545"/>
          </a:xfrm>
          <a:prstGeom prst="rect">
            <a:avLst/>
          </a:prstGeom>
          <a:solidFill>
            <a:srgbClr val="095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82" name="ZoneTexte 14"/>
          <p:cNvSpPr txBox="1"/>
          <p:nvPr userDrawn="1"/>
        </p:nvSpPr>
        <p:spPr>
          <a:xfrm>
            <a:off x="3029443" y="6046937"/>
            <a:ext cx="12171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9-91-191)</a:t>
            </a:r>
          </a:p>
        </p:txBody>
      </p:sp>
      <p:pic>
        <p:nvPicPr>
          <p:cNvPr id="83" name="Picture 2" descr="\\192.168.0.210\daten_server\_IN ARBEIT\LIMAGRAIN\0243.15.0574_02 LIM Prozess Markenentwicklung international - Creation\01_PowerPoint\__barley\LG_Icons_Barley_red.png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9263" y="4995408"/>
            <a:ext cx="371475" cy="36195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Bild 3" descr="LG_Icons_Barley_white.png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6145" y="4883674"/>
            <a:ext cx="609495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050" name="Picture 2" descr="\\192.168.0.210\daten_server\_IN ARBEIT\LIMAGRAIN\0243.15.0574_02 LIM Prozess Markenentwicklung international - Creation\01_PowerPoint\__cereal\LG_Icons_Cereals_red.png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6581" y="2855160"/>
            <a:ext cx="360000" cy="347899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\\192.168.0.210\daten_server\_IN ARBEIT\LIMAGRAIN\0243.15.0574_02 LIM Prozess Markenentwicklung international - Creation\01_PowerPoint\__cotton\icon_cotton.png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2450" y="2189282"/>
            <a:ext cx="360000" cy="363157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\\192.168.0.210\daten_server\_IN ARBEIT\LIMAGRAIN\0243.15.0574_02 LIM Prozess Markenentwicklung international - Creation\01_PowerPoint\__fodder beet\icon_fodder-beet.png"/>
          <p:cNvPicPr>
            <a:picLocks noChangeAspect="1" noChangeArrowheads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4650" y="1486154"/>
            <a:ext cx="360000" cy="347899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\\192.168.0.210\daten_server\_IN ARBEIT\LIMAGRAIN\0243.15.0574_02 LIM Prozess Markenentwicklung international - Creation\01_PowerPoint\__forage\LG_Icons_Forage_red.png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21366" y="5733587"/>
            <a:ext cx="360000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\\192.168.0.210\daten_server\_IN ARBEIT\LIMAGRAIN\0243.15.0574_02 LIM Prozess Markenentwicklung international - Creation\01_PowerPoint\__grain maize\LG_Icons_grainMaize_red.png"/>
          <p:cNvPicPr>
            <a:picLocks noChangeAspect="1" noChangeArrowheads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21715" y="1417534"/>
            <a:ext cx="360000" cy="348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\\192.168.0.210\daten_server\_IN ARBEIT\LIMAGRAIN\0243.15.0574_02 LIM Prozess Markenentwicklung international - Creation\01_PowerPoint\__maize\LG_Icons_Maize_red.png"/>
          <p:cNvPicPr>
            <a:picLocks noChangeAspect="1" noChangeArrowheads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8628" y="2092497"/>
            <a:ext cx="360000" cy="350848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\\192.168.0.210\daten_server\_IN ARBEIT\LIMAGRAIN\0243.15.0574_02 LIM Prozess Markenentwicklung international - Creation\01_PowerPoint\__Millet\LG_Icons_Millet_red.png"/>
          <p:cNvPicPr>
            <a:picLocks noChangeAspect="1" noChangeArrowheads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5917" y="3698866"/>
            <a:ext cx="360000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\\192.168.0.210\daten_server\_IN ARBEIT\LIMAGRAIN\0243.15.0574_02 LIM Prozess Markenentwicklung international - Creation\01_PowerPoint\__pea\LG_Icons_Peas_red.png"/>
          <p:cNvPicPr>
            <a:picLocks noChangeAspect="1" noChangeArrowheads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5952" y="827463"/>
            <a:ext cx="360000" cy="350769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\\192.168.0.210\daten_server\_IN ARBEIT\LIMAGRAIN\0243.15.0574_02 LIM Prozess Markenentwicklung international - Creation\01_PowerPoint\__Rice\LG_Icons_Rice_red.png"/>
          <p:cNvPicPr>
            <a:picLocks noChangeAspect="1" noChangeArrowheads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0474" y="5068433"/>
            <a:ext cx="362951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\\192.168.0.210\daten_server\_IN ARBEIT\LIMAGRAIN\0243.15.0574_02 LIM Prozess Markenentwicklung international - Creation\01_PowerPoint\__Sorghum\LG_Icons_Sorghum_red.png"/>
          <p:cNvPicPr>
            <a:picLocks noChangeAspect="1" noChangeArrowheads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8539" y="2867466"/>
            <a:ext cx="362927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1" name="Picture 13" descr="\\192.168.0.210\daten_server\_IN ARBEIT\LIMAGRAIN\0243.15.0574_02 LIM Prozess Markenentwicklung international - Creation\01_PowerPoint\__oil seed rape\LG_Icons_Rape_red.png"/>
          <p:cNvPicPr>
            <a:picLocks noChangeAspect="1" noChangeArrowheads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6645" y="4297234"/>
            <a:ext cx="369474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Textfeld 91"/>
          <p:cNvSpPr txBox="1"/>
          <p:nvPr userDrawn="1"/>
        </p:nvSpPr>
        <p:spPr>
          <a:xfrm>
            <a:off x="4924212" y="5784156"/>
            <a:ext cx="1214438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pPr algn="l"/>
            <a:r>
              <a:rPr lang="fr-FR" sz="1300" dirty="0" err="1">
                <a:solidFill>
                  <a:schemeClr val="tx1"/>
                </a:solidFill>
              </a:rPr>
              <a:t>Linseed</a:t>
            </a:r>
            <a:endParaRPr lang="fr-FR" sz="1300" dirty="0">
              <a:solidFill>
                <a:schemeClr val="tx1"/>
              </a:solidFill>
            </a:endParaRPr>
          </a:p>
        </p:txBody>
      </p:sp>
      <p:pic>
        <p:nvPicPr>
          <p:cNvPr id="1027" name="Picture 3" descr="\\192.168.0.210\daten_server\_IN ARBEIT\LIMAGRAIN\0243.15.0574_02 LIM Prozess Markenentwicklung international - Creation\01_PowerPoint\__Soybean\LG_Icons_Soybean_red.png"/>
          <p:cNvPicPr>
            <a:picLocks noChangeAspect="1" noChangeArrowheads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2990" y="4354557"/>
            <a:ext cx="362927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C:\Users\nba\Desktop\PowerPoint_LG\PowerPoint_LG\LG_Icons_lindseed_red.png"/>
          <p:cNvPicPr>
            <a:picLocks noChangeAspect="1" noChangeArrowheads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65952" y="5754782"/>
            <a:ext cx="360000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nba\Desktop\PowerPoint_LG\PowerPoint_LG\LG_Icons_lindseed_white.png"/>
          <p:cNvPicPr>
            <a:picLocks noChangeAspect="1" noChangeArrowheads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5230" y="5635637"/>
            <a:ext cx="594000" cy="594000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nba\Desktop\PowerPoint_LG\PowerPoint_LG\LG_Icons_soybean_white.png"/>
          <p:cNvPicPr>
            <a:picLocks noChangeAspect="1" noChangeArrowheads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6853" y="4216074"/>
            <a:ext cx="594000" cy="594000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nba\Desktop\PowerPoint_LG\PowerPoint_LG\LG_Icons_Millet_white.png"/>
          <p:cNvPicPr>
            <a:picLocks noChangeAspect="1" noChangeArrowheads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5105" y="3516515"/>
            <a:ext cx="594000" cy="594000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C:\Users\nba\Desktop\PowerPoint_LG\PowerPoint_LG\LG_Icons_sorghum_white.png"/>
          <p:cNvPicPr>
            <a:picLocks noChangeAspect="1" noChangeArrowheads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7357" y="2750466"/>
            <a:ext cx="594000" cy="594000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" descr="C:\Users\nba\Desktop\PowerPoint_LG\PowerPoint_LG\LG_Icons_Rice_white.png"/>
          <p:cNvPicPr>
            <a:picLocks noChangeAspect="1" noChangeArrowheads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8247" y="4948574"/>
            <a:ext cx="594000" cy="594000"/>
          </a:xfrm>
          <a:prstGeom prst="rect">
            <a:avLst/>
          </a:prstGeom>
          <a:noFill/>
          <a:effectLst>
            <a:outerShdw blurRad="50800" dist="38100" dir="2700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7" name="Rectangle 81"/>
          <p:cNvSpPr/>
          <p:nvPr userDrawn="1"/>
        </p:nvSpPr>
        <p:spPr>
          <a:xfrm>
            <a:off x="7803277" y="5716388"/>
            <a:ext cx="394138" cy="299545"/>
          </a:xfrm>
          <a:prstGeom prst="rect">
            <a:avLst/>
          </a:prstGeom>
          <a:solidFill>
            <a:srgbClr val="000F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sp>
        <p:nvSpPr>
          <p:cNvPr id="88" name="ZoneTexte 14"/>
          <p:cNvSpPr txBox="1"/>
          <p:nvPr userDrawn="1"/>
        </p:nvSpPr>
        <p:spPr>
          <a:xfrm>
            <a:off x="7425603" y="5999527"/>
            <a:ext cx="12171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dirty="0"/>
              <a:t>(RGB : 0-15-170)</a:t>
            </a:r>
          </a:p>
        </p:txBody>
      </p:sp>
      <p:pic>
        <p:nvPicPr>
          <p:cNvPr id="85" name="Picture 2" descr="C:\Users\nba\Desktop\LG_Red_Dot.png"/>
          <p:cNvPicPr>
            <a:picLocks noChangeAspect="1" noChangeArrowheads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21366" y="770115"/>
            <a:ext cx="360000" cy="360000"/>
          </a:xfrm>
          <a:prstGeom prst="rect">
            <a:avLst/>
          </a:prstGeom>
          <a:noFill/>
          <a:effectLst>
            <a:outerShdw blurRad="50800" dist="38100" dir="2700000" sx="95000" sy="95000" algn="ctr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feld 5"/>
          <p:cNvSpPr txBox="1"/>
          <p:nvPr userDrawn="1"/>
        </p:nvSpPr>
        <p:spPr>
          <a:xfrm>
            <a:off x="2172633" y="782681"/>
            <a:ext cx="1648213" cy="353871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/>
          <a:p>
            <a:pPr algn="l"/>
            <a:r>
              <a:rPr lang="fr-FR" sz="1300" dirty="0">
                <a:solidFill>
                  <a:schemeClr val="tx1"/>
                </a:solidFill>
              </a:rPr>
              <a:t>LG</a:t>
            </a:r>
            <a:r>
              <a:rPr lang="fr-FR" sz="1300" baseline="0" dirty="0">
                <a:solidFill>
                  <a:schemeClr val="tx1"/>
                </a:solidFill>
              </a:rPr>
              <a:t> </a:t>
            </a:r>
            <a:r>
              <a:rPr lang="fr-FR" sz="1300" baseline="0" dirty="0" err="1">
                <a:solidFill>
                  <a:schemeClr val="tx1"/>
                </a:solidFill>
              </a:rPr>
              <a:t>colour</a:t>
            </a:r>
            <a:r>
              <a:rPr lang="fr-FR" sz="1300" baseline="0" dirty="0">
                <a:solidFill>
                  <a:schemeClr val="tx1"/>
                </a:solidFill>
              </a:rPr>
              <a:t>: 238-0-45 </a:t>
            </a:r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86" name="Textplatzhalter 32"/>
          <p:cNvSpPr txBox="1">
            <a:spLocks/>
          </p:cNvSpPr>
          <p:nvPr userDrawn="1"/>
        </p:nvSpPr>
        <p:spPr>
          <a:xfrm>
            <a:off x="323187" y="6462467"/>
            <a:ext cx="1565770" cy="2893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200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1000" dirty="0" err="1">
                <a:solidFill>
                  <a:srgbClr val="7F7F7F"/>
                </a:solidFill>
              </a:rPr>
              <a:t>Limagrain</a:t>
            </a:r>
            <a:r>
              <a:rPr lang="fr-FR" sz="1000" dirty="0">
                <a:solidFill>
                  <a:srgbClr val="7F7F7F"/>
                </a:solidFill>
              </a:rPr>
              <a:t> Field </a:t>
            </a:r>
            <a:r>
              <a:rPr lang="fr-FR" sz="1000" dirty="0" err="1">
                <a:solidFill>
                  <a:srgbClr val="7F7F7F"/>
                </a:solidFill>
              </a:rPr>
              <a:t>Seeds</a:t>
            </a:r>
            <a:endParaRPr lang="fr-FR" sz="1000" dirty="0">
              <a:solidFill>
                <a:srgbClr val="7F7F7F"/>
              </a:solidFill>
            </a:endParaRPr>
          </a:p>
        </p:txBody>
      </p:sp>
      <p:pic>
        <p:nvPicPr>
          <p:cNvPr id="90" name="Bild 32" descr="LG_Icons_Sunflower_white.png"/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6543" y="3451439"/>
            <a:ext cx="609496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1" name="Bild 11" descr="Limagrain_Logo.png"/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1782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ain maize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914400" y="4125239"/>
            <a:ext cx="8229600" cy="2197907"/>
          </a:xfrm>
          <a:prstGeom prst="rect">
            <a:avLst/>
          </a:prstGeom>
          <a:solidFill>
            <a:srgbClr val="E3002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 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1079500" y="5408506"/>
            <a:ext cx="7960995" cy="0"/>
          </a:xfrm>
          <a:prstGeom prst="line">
            <a:avLst/>
          </a:prstGeom>
          <a:ln w="2540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itel 1"/>
          <p:cNvSpPr>
            <a:spLocks noGrp="1"/>
          </p:cNvSpPr>
          <p:nvPr>
            <p:ph type="ctrTitle" hasCustomPrompt="1"/>
          </p:nvPr>
        </p:nvSpPr>
        <p:spPr>
          <a:xfrm>
            <a:off x="1088440" y="5473065"/>
            <a:ext cx="7942530" cy="68343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aseline="0">
                <a:solidFill>
                  <a:srgbClr val="FFFFFF"/>
                </a:solidFill>
              </a:defRPr>
            </a:lvl1pPr>
          </a:lstStyle>
          <a:p>
            <a:r>
              <a:rPr lang="fr-FR" dirty="0" err="1"/>
              <a:t>Subheadline</a:t>
            </a:r>
            <a:br>
              <a:rPr lang="fr-FR" dirty="0"/>
            </a:br>
            <a:r>
              <a:rPr lang="fr-FR" dirty="0" err="1"/>
              <a:t>Subheadline</a:t>
            </a:r>
            <a:endParaRPr lang="fr-FR" dirty="0"/>
          </a:p>
        </p:txBody>
      </p:sp>
      <p:sp>
        <p:nvSpPr>
          <p:cNvPr id="1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88440" y="4443944"/>
            <a:ext cx="7942530" cy="9645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err="1"/>
              <a:t>Chapter</a:t>
            </a:r>
            <a:r>
              <a:rPr lang="fr-FR" dirty="0"/>
              <a:t> for </a:t>
            </a:r>
            <a:r>
              <a:rPr lang="fr-FR" dirty="0" err="1"/>
              <a:t>Maize</a:t>
            </a:r>
            <a:r>
              <a:rPr lang="fr-FR" dirty="0"/>
              <a:t> (grain)</a:t>
            </a:r>
          </a:p>
          <a:p>
            <a:r>
              <a:rPr lang="fr-FR" dirty="0"/>
              <a:t>In </a:t>
            </a:r>
            <a:r>
              <a:rPr lang="fr-FR" dirty="0" err="1"/>
              <a:t>two</a:t>
            </a:r>
            <a:r>
              <a:rPr lang="fr-FR" dirty="0"/>
              <a:t> </a:t>
            </a:r>
            <a:r>
              <a:rPr lang="fr-FR" dirty="0" err="1"/>
              <a:t>rows</a:t>
            </a:r>
            <a:endParaRPr lang="fr-FR" dirty="0"/>
          </a:p>
        </p:txBody>
      </p:sp>
      <p:sp>
        <p:nvSpPr>
          <p:cNvPr id="20" name="Freihandform 19"/>
          <p:cNvSpPr/>
          <p:nvPr userDrawn="1"/>
        </p:nvSpPr>
        <p:spPr>
          <a:xfrm>
            <a:off x="1079302" y="4363816"/>
            <a:ext cx="7958455" cy="9136"/>
          </a:xfrm>
          <a:custGeom>
            <a:avLst/>
            <a:gdLst>
              <a:gd name="connsiteX0" fmla="*/ 0 w 7958455"/>
              <a:gd name="connsiteY0" fmla="*/ 0 h 9136"/>
              <a:gd name="connsiteX1" fmla="*/ 7958455 w 7958455"/>
              <a:gd name="connsiteY1" fmla="*/ 9136 h 9136"/>
              <a:gd name="connsiteX2" fmla="*/ 7958455 w 7958455"/>
              <a:gd name="connsiteY2" fmla="*/ 9136 h 9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958455" h="9136">
                <a:moveTo>
                  <a:pt x="0" y="0"/>
                </a:moveTo>
                <a:lnTo>
                  <a:pt x="7958455" y="9136"/>
                </a:lnTo>
                <a:lnTo>
                  <a:pt x="7958455" y="9136"/>
                </a:lnTo>
              </a:path>
            </a:pathLst>
          </a:custGeom>
          <a:ln w="254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1"/>
            <a:endParaRPr lang="fr-FR" dirty="0"/>
          </a:p>
        </p:txBody>
      </p:sp>
      <p:pic>
        <p:nvPicPr>
          <p:cNvPr id="15" name="Bild 14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386397" y="192979"/>
            <a:ext cx="802717" cy="802717"/>
          </a:xfrm>
          <a:prstGeom prst="rect">
            <a:avLst/>
          </a:prstGeom>
        </p:spPr>
      </p:pic>
      <p:pic>
        <p:nvPicPr>
          <p:cNvPr id="13" name="Bild 26" descr="LG_Icons_grainMaize_white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0727" y="3680860"/>
            <a:ext cx="609361" cy="5940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Bild 11" descr="Limagrain_Logo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996" y="6445836"/>
            <a:ext cx="1293322" cy="321386"/>
          </a:xfrm>
          <a:prstGeom prst="rect">
            <a:avLst/>
          </a:prstGeom>
        </p:spPr>
      </p:pic>
      <p:pic>
        <p:nvPicPr>
          <p:cNvPr id="10" name="Image 1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848130" y="6436019"/>
            <a:ext cx="1566808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411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19361537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First line</a:t>
            </a:r>
          </a:p>
          <a:p>
            <a:pPr lvl="1"/>
            <a:r>
              <a:rPr lang="fr-FR" dirty="0"/>
              <a:t>Second line</a:t>
            </a:r>
          </a:p>
          <a:p>
            <a:pPr lvl="2"/>
            <a:r>
              <a:rPr lang="fr-FR" dirty="0" err="1"/>
              <a:t>Third</a:t>
            </a:r>
            <a:r>
              <a:rPr lang="fr-FR" dirty="0"/>
              <a:t> line</a:t>
            </a:r>
          </a:p>
          <a:p>
            <a:pPr lvl="3"/>
            <a:r>
              <a:rPr lang="fr-FR" dirty="0" err="1"/>
              <a:t>Fourth</a:t>
            </a:r>
            <a:r>
              <a:rPr lang="fr-FR" dirty="0"/>
              <a:t> line</a:t>
            </a:r>
          </a:p>
          <a:p>
            <a:pPr lvl="4"/>
            <a:r>
              <a:rPr lang="fr-FR" dirty="0" err="1"/>
              <a:t>Fifth</a:t>
            </a:r>
            <a:r>
              <a:rPr lang="fr-FR" dirty="0"/>
              <a:t> line</a:t>
            </a:r>
          </a:p>
        </p:txBody>
      </p:sp>
      <p:sp>
        <p:nvSpPr>
          <p:cNvPr id="7" name="Textplatzhalter 3"/>
          <p:cNvSpPr txBox="1">
            <a:spLocks/>
          </p:cNvSpPr>
          <p:nvPr/>
        </p:nvSpPr>
        <p:spPr>
          <a:xfrm>
            <a:off x="3638550" y="6436019"/>
            <a:ext cx="2419349" cy="290513"/>
          </a:xfrm>
          <a:prstGeom prst="rect">
            <a:avLst/>
          </a:prstGeom>
        </p:spPr>
        <p:txBody>
          <a:bodyPr wrap="none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Tx/>
              <a:buNone/>
              <a:defRPr sz="10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Char char="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Char char="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Char char="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E3000E"/>
              </a:buClr>
              <a:buSzPct val="75000"/>
              <a:buFont typeface="Wingdings" charset="2"/>
              <a:buChar char="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3000E"/>
              </a:buClr>
              <a:buSzPct val="75000"/>
              <a:buFontTx/>
              <a:buNone/>
              <a:tabLst/>
              <a:defRPr/>
            </a:pPr>
            <a:r>
              <a:rPr lang="fr-FR" dirty="0"/>
              <a:t>Name of the </a:t>
            </a:r>
            <a:r>
              <a:rPr lang="fr-FR" dirty="0" err="1"/>
              <a:t>presentation</a:t>
            </a:r>
            <a:r>
              <a:rPr lang="fr-FR" dirty="0"/>
              <a:t> / </a:t>
            </a:r>
            <a:r>
              <a:rPr lang="fr-FR" sz="1000" dirty="0">
                <a:solidFill>
                  <a:srgbClr val="7F7F7F"/>
                </a:solidFill>
              </a:rPr>
              <a:t>page </a:t>
            </a:r>
            <a:fld id="{D93E7899-C9A2-824B-8A3A-9D3FE1D353B4}" type="slidenum">
              <a:rPr lang="fr-FR" sz="1000" smtClean="0">
                <a:solidFill>
                  <a:srgbClr val="7F7F7F"/>
                </a:solidFill>
              </a:rPr>
              <a:pPr marL="0" marR="0" indent="0" algn="l" defTabSz="4572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E3000E"/>
                </a:buClr>
                <a:buSzPct val="75000"/>
                <a:buFontTx/>
                <a:buNone/>
                <a:tabLst/>
                <a:defRPr/>
              </a:pPr>
              <a:t>‹#›</a:t>
            </a:fld>
            <a:endParaRPr lang="fr-FR" sz="10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495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85" r:id="rId2"/>
    <p:sldLayoutId id="2147483663" r:id="rId3"/>
    <p:sldLayoutId id="2147483684" r:id="rId4"/>
    <p:sldLayoutId id="2147483687" r:id="rId5"/>
    <p:sldLayoutId id="2147483693" r:id="rId6"/>
    <p:sldLayoutId id="2147483688" r:id="rId7"/>
    <p:sldLayoutId id="2147483686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4" r:id="rId17"/>
    <p:sldLayoutId id="2147483680" r:id="rId18"/>
    <p:sldLayoutId id="2147483675" r:id="rId19"/>
    <p:sldLayoutId id="2147483694" r:id="rId20"/>
    <p:sldLayoutId id="2147483695" r:id="rId21"/>
    <p:sldLayoutId id="2147483696" r:id="rId22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E3000E"/>
        </a:buClr>
        <a:buSzPct val="75000"/>
        <a:buFontTx/>
        <a:buBlip>
          <a:blip r:embed="rId28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E3000E"/>
        </a:buClr>
        <a:buSzPct val="75000"/>
        <a:buFont typeface="Wingdings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E3000E"/>
        </a:buClr>
        <a:buSzPct val="75000"/>
        <a:buFont typeface="Wingdings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E3000E"/>
        </a:buClr>
        <a:buSzPct val="75000"/>
        <a:buFont typeface="Wingdings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E3000E"/>
        </a:buClr>
        <a:buSzPct val="75000"/>
        <a:buFont typeface="Wingdings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jpeg"/><Relationship Id="rId3" Type="http://schemas.openxmlformats.org/officeDocument/2006/relationships/image" Target="../media/image92.jpeg"/><Relationship Id="rId7" Type="http://schemas.openxmlformats.org/officeDocument/2006/relationships/image" Target="../media/image96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95.jpeg"/><Relationship Id="rId5" Type="http://schemas.openxmlformats.org/officeDocument/2006/relationships/image" Target="../media/image94.jpeg"/><Relationship Id="rId4" Type="http://schemas.openxmlformats.org/officeDocument/2006/relationships/image" Target="../media/image93.jpeg"/><Relationship Id="rId9" Type="http://schemas.openxmlformats.org/officeDocument/2006/relationships/image" Target="../media/image9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hyperlink" Target="http://www.kohlmann.net/gta/Marvin_Protokoll_en.pdf" TargetMode="External"/><Relationship Id="rId7" Type="http://schemas.openxmlformats.org/officeDocument/2006/relationships/image" Target="../media/image68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7.jpe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9.jpeg"/><Relationship Id="rId5" Type="http://schemas.openxmlformats.org/officeDocument/2006/relationships/image" Target="../media/image78.png"/><Relationship Id="rId4" Type="http://schemas.openxmlformats.org/officeDocument/2006/relationships/image" Target="../media/image7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3.jpeg"/><Relationship Id="rId4" Type="http://schemas.openxmlformats.org/officeDocument/2006/relationships/image" Target="../media/image8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Limagrain UK Wheat </a:t>
            </a:r>
            <a:r>
              <a:rPr lang="fr-FR" dirty="0" err="1"/>
              <a:t>Breeding</a:t>
            </a:r>
            <a:r>
              <a:rPr lang="fr-FR" dirty="0"/>
              <a:t> 2020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07424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notyping - Multiple genes of small effec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2C2765-EF04-451D-9356-B4971AF6F95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46" dirty="0"/>
              <a:t>Complex trait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Yield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Quality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Complex disease problems</a:t>
            </a:r>
          </a:p>
          <a:p>
            <a:pPr marL="704773" lvl="1" indent="-292190">
              <a:buFont typeface="Arial" pitchFamily="34" charset="0"/>
              <a:buChar char="•"/>
            </a:pPr>
            <a:endParaRPr lang="en-GB" sz="1846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846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846" dirty="0"/>
          </a:p>
          <a:p>
            <a:r>
              <a:rPr lang="en-GB" sz="1846" dirty="0"/>
              <a:t>Genome wide analysi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Greatly increased marker density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Higher resolution mapping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Investigate in detail the genetics of</a:t>
            </a:r>
            <a:br>
              <a:rPr lang="en-GB" sz="1846" dirty="0"/>
            </a:br>
            <a:r>
              <a:rPr lang="en-GB" sz="1846" dirty="0"/>
              <a:t>both current and historic varieties</a:t>
            </a:r>
          </a:p>
          <a:p>
            <a:pPr marL="704773" lvl="1" indent="-292190">
              <a:buFont typeface="Arial" pitchFamily="34" charset="0"/>
              <a:buChar char="•"/>
            </a:pPr>
            <a:endParaRPr lang="en-GB" sz="1846" dirty="0"/>
          </a:p>
        </p:txBody>
      </p:sp>
      <p:pic>
        <p:nvPicPr>
          <p:cNvPr id="6" name="Picture 3" descr="JohnSnape1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01039" y="1484299"/>
            <a:ext cx="2419642" cy="147254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1038" y="3407681"/>
            <a:ext cx="2419643" cy="262221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6936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64">
            <a:extLst>
              <a:ext uri="{FF2B5EF4-FFF2-40B4-BE49-F238E27FC236}">
                <a16:creationId xmlns:a16="http://schemas.microsoft.com/office/drawing/2014/main" id="{81D078B8-00DC-4B4B-B466-EE9482DBC1A0}"/>
              </a:ext>
            </a:extLst>
          </p:cNvPr>
          <p:cNvGrpSpPr/>
          <p:nvPr/>
        </p:nvGrpSpPr>
        <p:grpSpPr>
          <a:xfrm>
            <a:off x="1349847" y="1322289"/>
            <a:ext cx="2226036" cy="4908871"/>
            <a:chOff x="1349656" y="1322289"/>
            <a:chExt cx="2297350" cy="4908871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02A12A1-4CB7-414D-B91A-019A61987ABF}"/>
                </a:ext>
              </a:extLst>
            </p:cNvPr>
            <p:cNvSpPr/>
            <p:nvPr/>
          </p:nvSpPr>
          <p:spPr>
            <a:xfrm>
              <a:off x="1661270" y="5947957"/>
              <a:ext cx="1669627" cy="273105"/>
            </a:xfrm>
            <a:prstGeom prst="rect">
              <a:avLst/>
            </a:prstGeom>
            <a:solidFill>
              <a:srgbClr val="99663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1360208" y="1322289"/>
              <a:ext cx="2286798" cy="4902680"/>
            </a:xfrm>
            <a:prstGeom prst="roundRect">
              <a:avLst/>
            </a:prstGeom>
            <a:solidFill>
              <a:srgbClr val="996633">
                <a:alpha val="9804"/>
              </a:srgbClr>
            </a:solidFill>
            <a:ln w="25400" cap="flat" cmpd="sng" algn="ctr">
              <a:solidFill>
                <a:srgbClr val="996633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kern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Pie 12"/>
            <p:cNvSpPr/>
            <p:nvPr/>
          </p:nvSpPr>
          <p:spPr bwMode="auto">
            <a:xfrm>
              <a:off x="1349656" y="5411288"/>
              <a:ext cx="741361" cy="816613"/>
            </a:xfrm>
            <a:prstGeom prst="pie">
              <a:avLst>
                <a:gd name="adj1" fmla="val 5422136"/>
                <a:gd name="adj2" fmla="val 10801823"/>
              </a:avLst>
            </a:prstGeom>
            <a:solidFill>
              <a:srgbClr val="99663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Pie 13"/>
            <p:cNvSpPr/>
            <p:nvPr/>
          </p:nvSpPr>
          <p:spPr bwMode="auto">
            <a:xfrm flipH="1">
              <a:off x="2878623" y="5486400"/>
              <a:ext cx="766035" cy="744760"/>
            </a:xfrm>
            <a:prstGeom prst="pie">
              <a:avLst>
                <a:gd name="adj1" fmla="val 5422136"/>
                <a:gd name="adj2" fmla="val 10771109"/>
              </a:avLst>
            </a:prstGeom>
            <a:solidFill>
              <a:srgbClr val="99663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D3C8668-810F-46F3-ACD8-813FED0B9DE7}"/>
                </a:ext>
              </a:extLst>
            </p:cNvPr>
            <p:cNvSpPr/>
            <p:nvPr/>
          </p:nvSpPr>
          <p:spPr>
            <a:xfrm>
              <a:off x="1355828" y="5703805"/>
              <a:ext cx="2290768" cy="196572"/>
            </a:xfrm>
            <a:prstGeom prst="rect">
              <a:avLst/>
            </a:prstGeom>
            <a:solidFill>
              <a:srgbClr val="99663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668846" y="5706738"/>
              <a:ext cx="1679862" cy="470651"/>
            </a:xfrm>
            <a:prstGeom prst="rect">
              <a:avLst/>
            </a:prstGeom>
            <a:solidFill>
              <a:srgbClr val="996633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Good</a:t>
              </a:r>
              <a:r>
                <a:rPr lang="en-GB" sz="24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GB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Distilling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D744AA2-7F9C-4096-B52D-48DD01D04049}"/>
              </a:ext>
            </a:extLst>
          </p:cNvPr>
          <p:cNvGrpSpPr/>
          <p:nvPr/>
        </p:nvGrpSpPr>
        <p:grpSpPr>
          <a:xfrm>
            <a:off x="3735762" y="1322289"/>
            <a:ext cx="2256118" cy="4905613"/>
            <a:chOff x="3735762" y="1322289"/>
            <a:chExt cx="2383260" cy="4905613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96B89A37-0D1A-430F-A9B1-81BF9EE0C984}"/>
                </a:ext>
              </a:extLst>
            </p:cNvPr>
            <p:cNvSpPr/>
            <p:nvPr/>
          </p:nvSpPr>
          <p:spPr>
            <a:xfrm>
              <a:off x="4099988" y="5942063"/>
              <a:ext cx="1669627" cy="273105"/>
            </a:xfrm>
            <a:prstGeom prst="rect">
              <a:avLst/>
            </a:prstGeom>
            <a:solidFill>
              <a:srgbClr val="99663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3735762" y="1322289"/>
              <a:ext cx="2378880" cy="4902680"/>
            </a:xfrm>
            <a:prstGeom prst="roundRect">
              <a:avLst/>
            </a:prstGeom>
            <a:solidFill>
              <a:srgbClr val="996633">
                <a:alpha val="10000"/>
              </a:srgbClr>
            </a:solidFill>
            <a:ln w="25400" cap="flat" cmpd="sng" algn="ctr">
              <a:solidFill>
                <a:srgbClr val="996633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kern="0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0" name="Pie 12">
              <a:extLst>
                <a:ext uri="{FF2B5EF4-FFF2-40B4-BE49-F238E27FC236}">
                  <a16:creationId xmlns:a16="http://schemas.microsoft.com/office/drawing/2014/main" id="{EC981EE1-B0CD-4852-9B6F-EAB64486EC77}"/>
                </a:ext>
              </a:extLst>
            </p:cNvPr>
            <p:cNvSpPr/>
            <p:nvPr/>
          </p:nvSpPr>
          <p:spPr bwMode="auto">
            <a:xfrm>
              <a:off x="3741659" y="5486399"/>
              <a:ext cx="746923" cy="738327"/>
            </a:xfrm>
            <a:prstGeom prst="pie">
              <a:avLst>
                <a:gd name="adj1" fmla="val 5422136"/>
                <a:gd name="adj2" fmla="val 10801825"/>
              </a:avLst>
            </a:prstGeom>
            <a:solidFill>
              <a:srgbClr val="99663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1" name="Pie 13">
              <a:extLst>
                <a:ext uri="{FF2B5EF4-FFF2-40B4-BE49-F238E27FC236}">
                  <a16:creationId xmlns:a16="http://schemas.microsoft.com/office/drawing/2014/main" id="{B759F219-70A5-43C9-BF3E-F2DC6A358760}"/>
                </a:ext>
              </a:extLst>
            </p:cNvPr>
            <p:cNvSpPr/>
            <p:nvPr/>
          </p:nvSpPr>
          <p:spPr bwMode="auto">
            <a:xfrm flipH="1">
              <a:off x="5327022" y="5382035"/>
              <a:ext cx="792000" cy="845867"/>
            </a:xfrm>
            <a:prstGeom prst="pie">
              <a:avLst>
                <a:gd name="adj1" fmla="val 5422136"/>
                <a:gd name="adj2" fmla="val 10771109"/>
              </a:avLst>
            </a:prstGeom>
            <a:solidFill>
              <a:srgbClr val="99663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A17F25B-17C9-4559-9500-AE050D8D85BA}"/>
                </a:ext>
              </a:extLst>
            </p:cNvPr>
            <p:cNvSpPr/>
            <p:nvPr/>
          </p:nvSpPr>
          <p:spPr>
            <a:xfrm>
              <a:off x="3741660" y="5700629"/>
              <a:ext cx="2372982" cy="184125"/>
            </a:xfrm>
            <a:prstGeom prst="rect">
              <a:avLst/>
            </a:prstGeom>
            <a:solidFill>
              <a:srgbClr val="99663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967534" y="5754943"/>
              <a:ext cx="1934533" cy="369332"/>
            </a:xfrm>
            <a:prstGeom prst="rect">
              <a:avLst/>
            </a:prstGeom>
            <a:solidFill>
              <a:srgbClr val="996633"/>
            </a:solidFill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Medium</a:t>
              </a:r>
              <a:r>
                <a:rPr lang="en-GB" sz="2400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GB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Distilling </a:t>
              </a:r>
              <a:endParaRPr lang="en-GB" sz="16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ft Wheat Classific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Understanding the market and working with End Use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05468CF-0C8A-43A1-9166-EB4BBCBD4EFC}"/>
              </a:ext>
            </a:extLst>
          </p:cNvPr>
          <p:cNvSpPr txBox="1"/>
          <p:nvPr/>
        </p:nvSpPr>
        <p:spPr>
          <a:xfrm>
            <a:off x="7609092" y="5939609"/>
            <a:ext cx="1415680" cy="34834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en-GB" sz="1600" b="1" dirty="0">
                <a:solidFill>
                  <a:srgbClr val="C00000"/>
                </a:solidFill>
              </a:rPr>
              <a:t>LG Varietie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8D3E13D7-B400-41B7-8391-F8DC32D51E7A}"/>
              </a:ext>
            </a:extLst>
          </p:cNvPr>
          <p:cNvGrpSpPr/>
          <p:nvPr/>
        </p:nvGrpSpPr>
        <p:grpSpPr>
          <a:xfrm>
            <a:off x="194553" y="1821182"/>
            <a:ext cx="7754315" cy="2305200"/>
            <a:chOff x="434190" y="2082438"/>
            <a:chExt cx="7747368" cy="2366634"/>
          </a:xfrm>
        </p:grpSpPr>
        <p:sp>
          <p:nvSpPr>
            <p:cNvPr id="25" name="Rounded Rectangle 24"/>
            <p:cNvSpPr/>
            <p:nvPr/>
          </p:nvSpPr>
          <p:spPr>
            <a:xfrm>
              <a:off x="439084" y="2087691"/>
              <a:ext cx="7742474" cy="2361381"/>
            </a:xfrm>
            <a:prstGeom prst="roundRect">
              <a:avLst>
                <a:gd name="adj" fmla="val 11405"/>
              </a:avLst>
            </a:prstGeom>
            <a:solidFill>
              <a:srgbClr val="0193CF">
                <a:alpha val="10000"/>
              </a:srgbClr>
            </a:solidFill>
            <a:ln w="25400" cap="flat" cmpd="sng" algn="ctr">
              <a:solidFill>
                <a:srgbClr val="0193C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Pie 26"/>
            <p:cNvSpPr/>
            <p:nvPr/>
          </p:nvSpPr>
          <p:spPr bwMode="auto">
            <a:xfrm rot="16200000">
              <a:off x="481595" y="2047815"/>
              <a:ext cx="424875" cy="519684"/>
            </a:xfrm>
            <a:prstGeom prst="pie">
              <a:avLst>
                <a:gd name="adj1" fmla="val 15275177"/>
                <a:gd name="adj2" fmla="val 21475"/>
              </a:avLst>
            </a:prstGeom>
            <a:solidFill>
              <a:srgbClr val="0193C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>
                <a:solidFill>
                  <a:schemeClr val="lt1"/>
                </a:solidFill>
              </a:endParaRPr>
            </a:p>
          </p:txBody>
        </p:sp>
        <p:sp>
          <p:nvSpPr>
            <p:cNvPr id="28" name="Pie 27"/>
            <p:cNvSpPr/>
            <p:nvPr/>
          </p:nvSpPr>
          <p:spPr bwMode="auto">
            <a:xfrm rot="16200000" flipH="1">
              <a:off x="432565" y="3927761"/>
              <a:ext cx="522935" cy="519685"/>
            </a:xfrm>
            <a:prstGeom prst="pie">
              <a:avLst>
                <a:gd name="adj1" fmla="val 16123913"/>
                <a:gd name="adj2" fmla="val 86133"/>
              </a:avLst>
            </a:prstGeom>
            <a:solidFill>
              <a:srgbClr val="0193C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>
                <a:solidFill>
                  <a:schemeClr val="lt1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1F8B8197-D080-4071-8079-24812BEBB84C}"/>
                </a:ext>
              </a:extLst>
            </p:cNvPr>
            <p:cNvSpPr/>
            <p:nvPr/>
          </p:nvSpPr>
          <p:spPr>
            <a:xfrm>
              <a:off x="689129" y="2082438"/>
              <a:ext cx="218097" cy="2366633"/>
            </a:xfrm>
            <a:prstGeom prst="rect">
              <a:avLst/>
            </a:prstGeom>
            <a:solidFill>
              <a:srgbClr val="0193C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42CC679-F74B-4C97-821B-DE57A78B7AFC}"/>
                </a:ext>
              </a:extLst>
            </p:cNvPr>
            <p:cNvSpPr/>
            <p:nvPr/>
          </p:nvSpPr>
          <p:spPr>
            <a:xfrm>
              <a:off x="440179" y="2303232"/>
              <a:ext cx="464701" cy="1899240"/>
            </a:xfrm>
            <a:prstGeom prst="rect">
              <a:avLst/>
            </a:prstGeom>
            <a:solidFill>
              <a:srgbClr val="0193C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081835AE-632E-48AA-A7EA-BB7BFD6D35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1193" t="5239" r="5279" b="85932"/>
            <a:stretch/>
          </p:blipFill>
          <p:spPr>
            <a:xfrm rot="16200000">
              <a:off x="57976" y="3013482"/>
              <a:ext cx="1237026" cy="438149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9CC2A5D-1731-404B-A018-5FFD3ECEFA68}"/>
              </a:ext>
            </a:extLst>
          </p:cNvPr>
          <p:cNvGrpSpPr/>
          <p:nvPr/>
        </p:nvGrpSpPr>
        <p:grpSpPr>
          <a:xfrm>
            <a:off x="995983" y="3151857"/>
            <a:ext cx="7940177" cy="2433299"/>
            <a:chOff x="995983" y="3475123"/>
            <a:chExt cx="7940177" cy="2236152"/>
          </a:xfrm>
        </p:grpSpPr>
        <p:sp>
          <p:nvSpPr>
            <p:cNvPr id="6" name="Rounded Rectangle 5"/>
            <p:cNvSpPr/>
            <p:nvPr/>
          </p:nvSpPr>
          <p:spPr>
            <a:xfrm>
              <a:off x="995983" y="3481218"/>
              <a:ext cx="7926958" cy="2224233"/>
            </a:xfrm>
            <a:prstGeom prst="roundRect">
              <a:avLst>
                <a:gd name="adj" fmla="val 14685"/>
              </a:avLst>
            </a:prstGeom>
            <a:solidFill>
              <a:schemeClr val="bg1">
                <a:lumMod val="50000"/>
                <a:alpha val="10000"/>
              </a:schemeClr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Pie 6"/>
            <p:cNvSpPr/>
            <p:nvPr/>
          </p:nvSpPr>
          <p:spPr bwMode="auto">
            <a:xfrm>
              <a:off x="8231615" y="3475528"/>
              <a:ext cx="693985" cy="751082"/>
            </a:xfrm>
            <a:prstGeom prst="pie">
              <a:avLst>
                <a:gd name="adj1" fmla="val 16208747"/>
                <a:gd name="adj2" fmla="val 21553348"/>
              </a:avLst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" name="Pie 7"/>
            <p:cNvSpPr/>
            <p:nvPr/>
          </p:nvSpPr>
          <p:spPr bwMode="auto">
            <a:xfrm flipV="1">
              <a:off x="8208887" y="5048764"/>
              <a:ext cx="724278" cy="662511"/>
            </a:xfrm>
            <a:prstGeom prst="pie">
              <a:avLst>
                <a:gd name="adj1" fmla="val 16213919"/>
                <a:gd name="adj2" fmla="val 21591973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0B3D92E-1424-447C-86BA-7C8AB5BEDB40}"/>
                </a:ext>
              </a:extLst>
            </p:cNvPr>
            <p:cNvSpPr/>
            <p:nvPr/>
          </p:nvSpPr>
          <p:spPr>
            <a:xfrm>
              <a:off x="8316932" y="3475123"/>
              <a:ext cx="272230" cy="223032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3CD8C13-87DA-4CCD-9084-E0465D60EFB1}"/>
                </a:ext>
              </a:extLst>
            </p:cNvPr>
            <p:cNvSpPr/>
            <p:nvPr/>
          </p:nvSpPr>
          <p:spPr>
            <a:xfrm>
              <a:off x="8589162" y="3784520"/>
              <a:ext cx="323408" cy="160369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TextBox 8"/>
            <p:cNvSpPr txBox="1"/>
            <p:nvPr/>
          </p:nvSpPr>
          <p:spPr>
            <a:xfrm rot="16200000">
              <a:off x="7926915" y="4289764"/>
              <a:ext cx="1514489" cy="5040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Group 4 Soft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2BA90A7-FA7C-4657-B97D-06C09A61A4F9}"/>
              </a:ext>
            </a:extLst>
          </p:cNvPr>
          <p:cNvGrpSpPr/>
          <p:nvPr/>
        </p:nvGrpSpPr>
        <p:grpSpPr>
          <a:xfrm>
            <a:off x="995983" y="1188803"/>
            <a:ext cx="7916734" cy="1820730"/>
            <a:chOff x="995983" y="1188803"/>
            <a:chExt cx="7916734" cy="1820730"/>
          </a:xfrm>
        </p:grpSpPr>
        <p:sp>
          <p:nvSpPr>
            <p:cNvPr id="21" name="Pie 20"/>
            <p:cNvSpPr/>
            <p:nvPr/>
          </p:nvSpPr>
          <p:spPr bwMode="auto">
            <a:xfrm>
              <a:off x="8330852" y="1188803"/>
              <a:ext cx="576944" cy="502997"/>
            </a:xfrm>
            <a:prstGeom prst="pie">
              <a:avLst>
                <a:gd name="adj1" fmla="val 16239267"/>
                <a:gd name="adj2" fmla="val 21553348"/>
              </a:avLst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0" name="Rounded Rectangle 19"/>
            <p:cNvSpPr/>
            <p:nvPr/>
          </p:nvSpPr>
          <p:spPr>
            <a:xfrm>
              <a:off x="995983" y="1188804"/>
              <a:ext cx="7916734" cy="1814325"/>
            </a:xfrm>
            <a:prstGeom prst="roundRect">
              <a:avLst>
                <a:gd name="adj" fmla="val 14685"/>
              </a:avLst>
            </a:prstGeom>
            <a:solidFill>
              <a:srgbClr val="C00000">
                <a:alpha val="10000"/>
              </a:srgbClr>
            </a:solidFill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C72ED29-AFF0-48FC-946A-D765D4C7F0C5}"/>
                </a:ext>
              </a:extLst>
            </p:cNvPr>
            <p:cNvSpPr/>
            <p:nvPr/>
          </p:nvSpPr>
          <p:spPr>
            <a:xfrm>
              <a:off x="8316932" y="1194871"/>
              <a:ext cx="313038" cy="181466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F2D3378-BB46-45B6-BAAC-544F6456262A}"/>
                </a:ext>
              </a:extLst>
            </p:cNvPr>
            <p:cNvSpPr/>
            <p:nvPr/>
          </p:nvSpPr>
          <p:spPr>
            <a:xfrm>
              <a:off x="8594758" y="1391446"/>
              <a:ext cx="313038" cy="136639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Pie 21"/>
            <p:cNvSpPr/>
            <p:nvPr/>
          </p:nvSpPr>
          <p:spPr bwMode="auto">
            <a:xfrm flipV="1">
              <a:off x="8358761" y="2493808"/>
              <a:ext cx="543725" cy="501422"/>
            </a:xfrm>
            <a:prstGeom prst="pie">
              <a:avLst>
                <a:gd name="adj1" fmla="val 16172535"/>
                <a:gd name="adj2" fmla="val 251524"/>
              </a:avLst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2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 rot="16200000">
              <a:off x="7804999" y="1930924"/>
              <a:ext cx="1599381" cy="382111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txBody>
            <a:bodyPr wrap="square" lIns="0" rIns="0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b="1" dirty="0">
                  <a:solidFill>
                    <a:schemeClr val="bg1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Group 3 Biscuit</a:t>
              </a: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4039500" y="3417209"/>
            <a:ext cx="16921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  <a:t>Leed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081433" y="3418801"/>
            <a:ext cx="17418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enningt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638709" y="3203052"/>
            <a:ext cx="16921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C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velation </a:t>
            </a:r>
            <a: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  <a:t>Viscou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  <a:t>Elation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903852" y="2241899"/>
            <a:ext cx="1888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C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Zulu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193992" y="1949143"/>
            <a:ext cx="15314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  <a:t>KWS Barre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  <a:t>KWS Basset</a:t>
            </a:r>
            <a:b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  <a:t>KWS Firefly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667454" y="4107828"/>
            <a:ext cx="244718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C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G Skyscrape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C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G Spotligh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C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G Sundanc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C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G Motown</a:t>
            </a:r>
            <a:b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  <a:t>KWS Jacka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59C66CE-BA08-4AE5-A5DE-6D67CE6A02E6}"/>
              </a:ext>
            </a:extLst>
          </p:cNvPr>
          <p:cNvSpPr/>
          <p:nvPr/>
        </p:nvSpPr>
        <p:spPr>
          <a:xfrm>
            <a:off x="2068195" y="2226142"/>
            <a:ext cx="6303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ea typeface="Verdana" panose="020B0604030504040204" pitchFamily="34" charset="0"/>
                <a:cs typeface="Verdana" panose="020B0604030504040204" pitchFamily="34" charset="0"/>
              </a:rPr>
              <a:t>Elic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5885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ost Damage and Ster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DEAD2B-0046-4FED-8B0A-2B1B931007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ducing risk factors for grower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36"/>
          <a:stretch/>
        </p:blipFill>
        <p:spPr>
          <a:xfrm>
            <a:off x="548640" y="1604395"/>
            <a:ext cx="4687388" cy="4343400"/>
          </a:xfr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5905" y="1968586"/>
            <a:ext cx="2711263" cy="361501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4067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otched Right Arrow 4"/>
          <p:cNvSpPr/>
          <p:nvPr/>
        </p:nvSpPr>
        <p:spPr bwMode="auto">
          <a:xfrm>
            <a:off x="517396" y="3045526"/>
            <a:ext cx="8109209" cy="736273"/>
          </a:xfrm>
          <a:prstGeom prst="notchedRightArrow">
            <a:avLst>
              <a:gd name="adj1" fmla="val 100000"/>
              <a:gd name="adj2" fmla="val 48797"/>
            </a:avLst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 defTabSz="779173"/>
            <a:r>
              <a:rPr lang="en-GB" sz="2386" b="1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</a:rPr>
              <a:t>Limagrain Wheat Breeding Process</a:t>
            </a:r>
          </a:p>
        </p:txBody>
      </p:sp>
      <p:sp>
        <p:nvSpPr>
          <p:cNvPr id="9" name="Up Arrow Callout 8"/>
          <p:cNvSpPr/>
          <p:nvPr/>
        </p:nvSpPr>
        <p:spPr bwMode="auto">
          <a:xfrm>
            <a:off x="5901378" y="3781796"/>
            <a:ext cx="1861130" cy="920339"/>
          </a:xfrm>
          <a:prstGeom prst="upArrowCallout">
            <a:avLst>
              <a:gd name="adj1" fmla="val 50000"/>
              <a:gd name="adj2" fmla="val 25000"/>
              <a:gd name="adj3" fmla="val 20127"/>
              <a:gd name="adj4" fmla="val 64977"/>
            </a:avLst>
          </a:prstGeom>
          <a:solidFill>
            <a:srgbClr val="D8405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534" dirty="0"/>
              <a:t>End Use Evaluation</a:t>
            </a:r>
          </a:p>
        </p:txBody>
      </p:sp>
      <p:sp>
        <p:nvSpPr>
          <p:cNvPr id="15" name="Down Arrow Callout 14"/>
          <p:cNvSpPr/>
          <p:nvPr/>
        </p:nvSpPr>
        <p:spPr bwMode="auto">
          <a:xfrm>
            <a:off x="3375560" y="2186545"/>
            <a:ext cx="1861130" cy="859003"/>
          </a:xfrm>
          <a:prstGeom prst="downArrowCallout">
            <a:avLst>
              <a:gd name="adj1" fmla="val 50000"/>
              <a:gd name="adj2" fmla="val 25000"/>
              <a:gd name="adj3" fmla="val 17441"/>
              <a:gd name="adj4" fmla="val 70646"/>
            </a:avLst>
          </a:prstGeom>
          <a:solidFill>
            <a:srgbClr val="E57F9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 defTabSz="779173"/>
            <a:r>
              <a:rPr lang="en-GB" sz="1534" dirty="0">
                <a:latin typeface="Arial" pitchFamily="34" charset="0"/>
                <a:ea typeface="MS PGothic" pitchFamily="34" charset="-128"/>
              </a:rPr>
              <a:t>Intensive Genotyping</a:t>
            </a:r>
          </a:p>
        </p:txBody>
      </p:sp>
      <p:sp>
        <p:nvSpPr>
          <p:cNvPr id="16" name="Down Arrow Callout 15"/>
          <p:cNvSpPr/>
          <p:nvPr/>
        </p:nvSpPr>
        <p:spPr bwMode="auto">
          <a:xfrm>
            <a:off x="783273" y="2186523"/>
            <a:ext cx="1958875" cy="859003"/>
          </a:xfrm>
          <a:prstGeom prst="downArrowCallout">
            <a:avLst>
              <a:gd name="adj1" fmla="val 50000"/>
              <a:gd name="adj2" fmla="val 25000"/>
              <a:gd name="adj3" fmla="val 17441"/>
              <a:gd name="adj4" fmla="val 70646"/>
            </a:avLst>
          </a:prstGeom>
          <a:solidFill>
            <a:srgbClr val="F2C0C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 defTabSz="779173"/>
            <a:r>
              <a:rPr lang="en-GB" sz="1534" dirty="0">
                <a:latin typeface="Arial" pitchFamily="34" charset="0"/>
                <a:ea typeface="MS PGothic" pitchFamily="34" charset="-128"/>
              </a:rPr>
              <a:t>Market Driven Objectives</a:t>
            </a:r>
          </a:p>
        </p:txBody>
      </p:sp>
      <p:sp>
        <p:nvSpPr>
          <p:cNvPr id="17" name="Up Arrow Callout 16"/>
          <p:cNvSpPr/>
          <p:nvPr/>
        </p:nvSpPr>
        <p:spPr bwMode="auto">
          <a:xfrm>
            <a:off x="783273" y="3781796"/>
            <a:ext cx="1958875" cy="920339"/>
          </a:xfrm>
          <a:prstGeom prst="upArrowCallout">
            <a:avLst>
              <a:gd name="adj1" fmla="val 50000"/>
              <a:gd name="adj2" fmla="val 25000"/>
              <a:gd name="adj3" fmla="val 20127"/>
              <a:gd name="adj4" fmla="val 64977"/>
            </a:avLst>
          </a:prstGeom>
          <a:solidFill>
            <a:srgbClr val="F2C0C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534" dirty="0"/>
              <a:t>Selected Parental Germplasm</a:t>
            </a:r>
          </a:p>
        </p:txBody>
      </p:sp>
      <p:sp>
        <p:nvSpPr>
          <p:cNvPr id="18" name="Up Arrow Callout 17"/>
          <p:cNvSpPr/>
          <p:nvPr/>
        </p:nvSpPr>
        <p:spPr bwMode="auto">
          <a:xfrm>
            <a:off x="3375560" y="3781796"/>
            <a:ext cx="1861130" cy="920339"/>
          </a:xfrm>
          <a:prstGeom prst="upArrowCallout">
            <a:avLst>
              <a:gd name="adj1" fmla="val 50000"/>
              <a:gd name="adj2" fmla="val 25000"/>
              <a:gd name="adj3" fmla="val 20127"/>
              <a:gd name="adj4" fmla="val 64977"/>
            </a:avLst>
          </a:prstGeom>
          <a:solidFill>
            <a:srgbClr val="E57F9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534" dirty="0"/>
              <a:t>Accelerated Breeding</a:t>
            </a:r>
          </a:p>
        </p:txBody>
      </p:sp>
      <p:sp>
        <p:nvSpPr>
          <p:cNvPr id="19" name="Down Arrow Callout 18"/>
          <p:cNvSpPr/>
          <p:nvPr/>
        </p:nvSpPr>
        <p:spPr bwMode="auto">
          <a:xfrm>
            <a:off x="5901378" y="2186523"/>
            <a:ext cx="1861130" cy="859003"/>
          </a:xfrm>
          <a:prstGeom prst="downArrowCallout">
            <a:avLst>
              <a:gd name="adj1" fmla="val 50000"/>
              <a:gd name="adj2" fmla="val 25000"/>
              <a:gd name="adj3" fmla="val 17441"/>
              <a:gd name="adj4" fmla="val 70646"/>
            </a:avLst>
          </a:prstGeom>
          <a:solidFill>
            <a:srgbClr val="D8405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534" dirty="0"/>
              <a:t>Intensive Field Evaluation</a:t>
            </a:r>
          </a:p>
        </p:txBody>
      </p:sp>
      <p:sp>
        <p:nvSpPr>
          <p:cNvPr id="21" name="Down Arrow Callout 20"/>
          <p:cNvSpPr/>
          <p:nvPr/>
        </p:nvSpPr>
        <p:spPr bwMode="auto">
          <a:xfrm>
            <a:off x="3375560" y="1327583"/>
            <a:ext cx="1861130" cy="859003"/>
          </a:xfrm>
          <a:prstGeom prst="downArrowCallout">
            <a:avLst>
              <a:gd name="adj1" fmla="val 50000"/>
              <a:gd name="adj2" fmla="val 25000"/>
              <a:gd name="adj3" fmla="val 17441"/>
              <a:gd name="adj4" fmla="val 81984"/>
            </a:avLst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 defTabSz="779173"/>
            <a:r>
              <a:rPr lang="en-GB" sz="1534" dirty="0">
                <a:latin typeface="Arial" pitchFamily="34" charset="0"/>
                <a:ea typeface="MS PGothic" pitchFamily="34" charset="-128"/>
              </a:rPr>
              <a:t>Gene discovery and validation</a:t>
            </a:r>
          </a:p>
        </p:txBody>
      </p:sp>
      <p:sp>
        <p:nvSpPr>
          <p:cNvPr id="22" name="Down Arrow Callout 21"/>
          <p:cNvSpPr/>
          <p:nvPr/>
        </p:nvSpPr>
        <p:spPr bwMode="auto">
          <a:xfrm>
            <a:off x="783273" y="1327562"/>
            <a:ext cx="1958875" cy="859003"/>
          </a:xfrm>
          <a:prstGeom prst="downArrowCallout">
            <a:avLst>
              <a:gd name="adj1" fmla="val 50000"/>
              <a:gd name="adj2" fmla="val 25000"/>
              <a:gd name="adj3" fmla="val 17441"/>
              <a:gd name="adj4" fmla="val 82559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 defTabSz="779173"/>
            <a:r>
              <a:rPr lang="en-GB" sz="1534" dirty="0">
                <a:latin typeface="Arial" pitchFamily="34" charset="0"/>
                <a:ea typeface="MS PGothic" pitchFamily="34" charset="-128"/>
              </a:rPr>
              <a:t>Market Analysis</a:t>
            </a:r>
          </a:p>
        </p:txBody>
      </p:sp>
      <p:sp>
        <p:nvSpPr>
          <p:cNvPr id="23" name="Down Arrow Callout 22"/>
          <p:cNvSpPr/>
          <p:nvPr/>
        </p:nvSpPr>
        <p:spPr bwMode="auto">
          <a:xfrm>
            <a:off x="5901378" y="1327562"/>
            <a:ext cx="1861130" cy="859003"/>
          </a:xfrm>
          <a:prstGeom prst="downArrowCallout">
            <a:avLst>
              <a:gd name="adj1" fmla="val 50000"/>
              <a:gd name="adj2" fmla="val 25000"/>
              <a:gd name="adj3" fmla="val 17441"/>
              <a:gd name="adj4" fmla="val 82559"/>
            </a:avLst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534" dirty="0"/>
              <a:t>Phenotyping technology</a:t>
            </a:r>
          </a:p>
        </p:txBody>
      </p:sp>
      <p:sp>
        <p:nvSpPr>
          <p:cNvPr id="24" name="Up Arrow Callout 23"/>
          <p:cNvSpPr/>
          <p:nvPr/>
        </p:nvSpPr>
        <p:spPr bwMode="auto">
          <a:xfrm>
            <a:off x="5901378" y="4702135"/>
            <a:ext cx="1861130" cy="920339"/>
          </a:xfrm>
          <a:prstGeom prst="upArrowCallout">
            <a:avLst>
              <a:gd name="adj1" fmla="val 50000"/>
              <a:gd name="adj2" fmla="val 25000"/>
              <a:gd name="adj3" fmla="val 20127"/>
              <a:gd name="adj4" fmla="val 79087"/>
            </a:avLst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534" dirty="0"/>
              <a:t>Enhanced Predictive testing</a:t>
            </a:r>
          </a:p>
        </p:txBody>
      </p:sp>
      <p:sp>
        <p:nvSpPr>
          <p:cNvPr id="25" name="Up Arrow Callout 24"/>
          <p:cNvSpPr/>
          <p:nvPr/>
        </p:nvSpPr>
        <p:spPr bwMode="auto">
          <a:xfrm>
            <a:off x="783273" y="4702135"/>
            <a:ext cx="1958875" cy="920339"/>
          </a:xfrm>
          <a:prstGeom prst="upArrowCallout">
            <a:avLst>
              <a:gd name="adj1" fmla="val 50000"/>
              <a:gd name="adj2" fmla="val 25000"/>
              <a:gd name="adj3" fmla="val 20127"/>
              <a:gd name="adj4" fmla="val 79087"/>
            </a:avLst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534" dirty="0"/>
              <a:t>Wide Genetic Resources Pool</a:t>
            </a:r>
          </a:p>
        </p:txBody>
      </p:sp>
      <p:sp>
        <p:nvSpPr>
          <p:cNvPr id="26" name="Up Arrow Callout 25"/>
          <p:cNvSpPr/>
          <p:nvPr/>
        </p:nvSpPr>
        <p:spPr bwMode="auto">
          <a:xfrm>
            <a:off x="3375560" y="4702135"/>
            <a:ext cx="1861130" cy="920339"/>
          </a:xfrm>
          <a:prstGeom prst="upArrowCallout">
            <a:avLst>
              <a:gd name="adj1" fmla="val 50000"/>
              <a:gd name="adj2" fmla="val 25000"/>
              <a:gd name="adj3" fmla="val 20127"/>
              <a:gd name="adj4" fmla="val 79087"/>
            </a:avLst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7913" tIns="38957" rIns="77913" bIns="38957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534" dirty="0"/>
              <a:t>Adapted DH &amp; SSD method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ed Breeding Platform </a:t>
            </a:r>
          </a:p>
        </p:txBody>
      </p:sp>
    </p:spTree>
    <p:extLst>
      <p:ext uri="{BB962C8B-B14F-4D97-AF65-F5344CB8AC3E}">
        <p14:creationId xmlns:p14="http://schemas.microsoft.com/office/powerpoint/2010/main" val="146653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Breeding Challenge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C95616-7359-404C-AFAD-F49946A297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GB" sz="1846" dirty="0"/>
              <a:t>Anticipation of market requirements</a:t>
            </a:r>
          </a:p>
          <a:p>
            <a:pPr marL="704773" lvl="1" indent="-292190"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46" dirty="0"/>
              <a:t>Understand future needs of both the Growers &amp; End-Users</a:t>
            </a:r>
          </a:p>
          <a:p>
            <a:pPr marL="704773" lvl="1" indent="-292190"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46" dirty="0"/>
              <a:t>Consideration of multiple external factors</a:t>
            </a:r>
          </a:p>
          <a:p>
            <a:pPr marL="704773" lvl="1" indent="-292190"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46" dirty="0"/>
              <a:t>Clear breeding objectives</a:t>
            </a:r>
          </a:p>
          <a:p>
            <a:pPr marL="704773" lvl="1" indent="-292190">
              <a:lnSpc>
                <a:spcPct val="150000"/>
              </a:lnSpc>
              <a:buFont typeface="Arial" pitchFamily="34" charset="0"/>
              <a:buChar char="•"/>
            </a:pPr>
            <a:endParaRPr lang="en-GB" sz="1846" dirty="0"/>
          </a:p>
          <a:p>
            <a:pPr>
              <a:lnSpc>
                <a:spcPct val="150000"/>
              </a:lnSpc>
            </a:pPr>
            <a:r>
              <a:rPr lang="en-GB" sz="1846" dirty="0"/>
              <a:t>Integration of Research &amp; Development into the Breeding pipeline</a:t>
            </a:r>
          </a:p>
          <a:p>
            <a:pPr marL="704773" lvl="1" indent="-292190">
              <a:lnSpc>
                <a:spcPct val="150000"/>
              </a:lnSpc>
              <a:buFont typeface="Arial" pitchFamily="34" charset="0"/>
              <a:buChar char="•"/>
            </a:pPr>
            <a:r>
              <a:rPr lang="en-GB" sz="1846" dirty="0"/>
              <a:t>Evaluate new methods, tools, techniques &amp; trait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Continually improve breeding efficiency by maximising the benefit of these new developments to maintain a constant flow of commercially successful varieties</a:t>
            </a:r>
          </a:p>
          <a:p>
            <a:pPr marL="704773" lvl="1" indent="-292190">
              <a:buFont typeface="Arial" pitchFamily="34" charset="0"/>
              <a:buChar char="•"/>
            </a:pPr>
            <a:endParaRPr lang="en-GB" sz="1846" dirty="0"/>
          </a:p>
        </p:txBody>
      </p:sp>
    </p:spTree>
    <p:extLst>
      <p:ext uri="{BB962C8B-B14F-4D97-AF65-F5344CB8AC3E}">
        <p14:creationId xmlns:p14="http://schemas.microsoft.com/office/powerpoint/2010/main" val="209840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B37788B-90F9-4350-B6DA-7C0DEB6115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1608" y="2801557"/>
            <a:ext cx="3984183" cy="1716714"/>
          </a:xfrm>
          <a:prstGeom prst="rect">
            <a:avLst/>
          </a:prstGeom>
        </p:spPr>
      </p:pic>
      <p:pic>
        <p:nvPicPr>
          <p:cNvPr id="4" name="Picture 43" descr="crusoe_cmyk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189" y="342202"/>
            <a:ext cx="3509105" cy="1195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6004" y="1567274"/>
            <a:ext cx="2382306" cy="182898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52719" y="5254832"/>
            <a:ext cx="3251182" cy="110969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0742" y="672309"/>
            <a:ext cx="2371435" cy="103832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C41EE2-6852-4886-B1CA-1779F9AC01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9640" y="2087336"/>
            <a:ext cx="4082239" cy="11141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8B445A-3564-4D59-990F-EE70809308B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0742" y="4667794"/>
            <a:ext cx="3061137" cy="184885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057" y="3922588"/>
            <a:ext cx="2348125" cy="133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9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8268" y="3959712"/>
            <a:ext cx="2091341" cy="1940341"/>
          </a:xfrm>
          <a:prstGeom prst="rect">
            <a:avLst/>
          </a:prstGeom>
          <a:effectLst/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/>
              <a:t>Breeding Objectiv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D76778-E6C7-44B6-BE90-7B6EC9A5D2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GB" sz="1846" dirty="0"/>
              <a:t>Grower requirement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Consistency of yield and quality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Ease of production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Marketable product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High quality variety advice</a:t>
            </a:r>
          </a:p>
          <a:p>
            <a:pPr marL="704773" lvl="1" indent="-292190">
              <a:buFont typeface="Arial" pitchFamily="34" charset="0"/>
              <a:buChar char="•"/>
            </a:pPr>
            <a:endParaRPr lang="en-GB" sz="1846" dirty="0"/>
          </a:p>
          <a:p>
            <a:pPr eaLnBrk="1" hangingPunct="1"/>
            <a:r>
              <a:rPr lang="en-GB" sz="1846" dirty="0"/>
              <a:t>End</a:t>
            </a:r>
            <a:r>
              <a:rPr lang="en-GB" sz="2215" dirty="0"/>
              <a:t> </a:t>
            </a:r>
            <a:r>
              <a:rPr lang="en-GB" sz="1846" dirty="0"/>
              <a:t>User requirement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Reliable quality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Consistent supply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Ease of processing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Economically sourced</a:t>
            </a:r>
          </a:p>
          <a:p>
            <a:pPr lvl="1" eaLnBrk="1" hangingPunct="1"/>
            <a:endParaRPr lang="en-GB" sz="1846" dirty="0"/>
          </a:p>
        </p:txBody>
      </p:sp>
      <p:pic>
        <p:nvPicPr>
          <p:cNvPr id="7" name="Picture 7" descr="http://www.google.co.uk/url?sa=i&amp;source=images&amp;cd=&amp;docid=LX7X_TGcfQi3FM&amp;tbnid=8dqPyRefxxqvlM:&amp;ved=0CAUQjBwwADjuAQ&amp;url=http%3A%2F%2Fwww.caseih.com%2Fdistributor_en%2FProducts%2FCombines%2FPublishingImages%2FNEWCAB_Axial_230%2FNEW-Cab_230_24.jpg&amp;ei=kHoaUczRL-6o0AWkiIDQDA&amp;psig=AFQjCNGtSKbSKB5a4vvWSk03w4egMvQnXw&amp;ust=1360776208815299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91365" y="2153311"/>
            <a:ext cx="2101510" cy="1310859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3806" y="3855943"/>
            <a:ext cx="1510480" cy="20441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5535094" y="737075"/>
            <a:ext cx="2402940" cy="1314310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3806" y="2153311"/>
            <a:ext cx="1595638" cy="1327571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9121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ternal Factors affecting Breed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D33EAFA-5220-4D5C-ACE4-5892321C5A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207211"/>
            <a:ext cx="8229600" cy="5115211"/>
          </a:xfrm>
        </p:spPr>
        <p:txBody>
          <a:bodyPr vert="horz" lIns="84406" tIns="42203" rIns="84406" bIns="42203" rtlCol="0">
            <a:noAutofit/>
          </a:bodyPr>
          <a:lstStyle/>
          <a:p>
            <a:pPr marL="244726" indent="-244726">
              <a:buFont typeface="Webdings" pitchFamily="18" charset="2"/>
              <a:buChar char="="/>
            </a:pPr>
            <a:r>
              <a:rPr lang="en-GB" sz="1846" dirty="0"/>
              <a:t>Environmental</a:t>
            </a:r>
            <a:endParaRPr lang="en-GB" sz="2215" dirty="0"/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Seasonal variability/unpredictability</a:t>
            </a:r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Frequency &amp; severity of epidemics</a:t>
            </a:r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Sub-optimal timing for inputs</a:t>
            </a:r>
          </a:p>
          <a:p>
            <a:pPr marL="244726" indent="-244726">
              <a:buFont typeface="Webdings" pitchFamily="18" charset="2"/>
              <a:buChar char="="/>
            </a:pPr>
            <a:endParaRPr lang="en-GB" sz="1846" dirty="0"/>
          </a:p>
          <a:p>
            <a:pPr marL="244726" indent="-244726">
              <a:buFont typeface="Webdings" pitchFamily="18" charset="2"/>
              <a:buChar char="="/>
            </a:pPr>
            <a:r>
              <a:rPr lang="en-GB" sz="1846" dirty="0"/>
              <a:t>Technological</a:t>
            </a:r>
            <a:endParaRPr lang="en-GB" sz="2215" dirty="0"/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Precision Agriculture</a:t>
            </a:r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End user processes or new markets</a:t>
            </a:r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Novel breeding technology</a:t>
            </a:r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endParaRPr lang="en-GB" sz="1846" dirty="0"/>
          </a:p>
          <a:p>
            <a:pPr marL="244726" indent="-244726">
              <a:buFont typeface="Webdings" pitchFamily="18" charset="2"/>
              <a:buChar char="="/>
            </a:pPr>
            <a:r>
              <a:rPr lang="en-GB" sz="1846" dirty="0"/>
              <a:t>Legislation</a:t>
            </a:r>
            <a:endParaRPr lang="en-GB" sz="2215" dirty="0"/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Food quality regulations</a:t>
            </a:r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Agrochemicals (e.g. </a:t>
            </a:r>
            <a:r>
              <a:rPr lang="en-GB" sz="1662" dirty="0" err="1"/>
              <a:t>Chlorpyrifos</a:t>
            </a:r>
            <a:r>
              <a:rPr lang="en-GB" sz="1662" dirty="0"/>
              <a:t>)</a:t>
            </a:r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Nitrate sensitivity</a:t>
            </a:r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r>
              <a:rPr lang="en-GB" sz="1662" dirty="0"/>
              <a:t>New breeding techniques (GE)</a:t>
            </a:r>
          </a:p>
          <a:p>
            <a:pPr marL="704773" lvl="1" indent="-292190">
              <a:buClr>
                <a:srgbClr val="B0BA25"/>
              </a:buClr>
              <a:buFont typeface="Arial" pitchFamily="34" charset="0"/>
              <a:buChar char="•"/>
            </a:pPr>
            <a:endParaRPr lang="en-GB" sz="1662" dirty="0"/>
          </a:p>
          <a:p>
            <a:pPr marL="244726" indent="-244726">
              <a:buFont typeface="Webdings" pitchFamily="18" charset="2"/>
              <a:buChar char="="/>
            </a:pPr>
            <a:endParaRPr lang="en-GB" sz="2215" dirty="0"/>
          </a:p>
        </p:txBody>
      </p:sp>
      <p:pic>
        <p:nvPicPr>
          <p:cNvPr id="6" name="Picture 27" descr="C:\Users\edward flatman\AppData\Local\Microsoft\Windows\Temporary Internet Files\Content.IE5\Q8I9OTKH\MP900302894[1]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5629" y="1207211"/>
            <a:ext cx="2219817" cy="1461665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0" descr="C:\Users\edward flatman\AppData\Local\Microsoft\Windows\Temporary Internet Files\Content.IE5\706ZWZH8\MP900315452[1]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5629" y="2946586"/>
            <a:ext cx="2219817" cy="146166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5631" y="4701734"/>
            <a:ext cx="2219816" cy="139172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88950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raditional Breeding Approach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A3FD2B2-3DE9-4B1D-B00B-34F6461EEA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365118"/>
            <a:ext cx="8229600" cy="4761046"/>
          </a:xfrm>
        </p:spPr>
        <p:txBody>
          <a:bodyPr/>
          <a:lstStyle/>
          <a:p>
            <a:r>
              <a:rPr lang="en-GB" sz="1846" dirty="0"/>
              <a:t>Field Assessment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Disease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Plant type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Agronomy</a:t>
            </a:r>
          </a:p>
          <a:p>
            <a:endParaRPr lang="en-GB" sz="1846" dirty="0"/>
          </a:p>
          <a:p>
            <a:r>
              <a:rPr lang="en-GB" sz="1846" dirty="0"/>
              <a:t>Yield Assessment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Automated drilling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Precision spraying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On combine weighing</a:t>
            </a:r>
          </a:p>
          <a:p>
            <a:pPr marL="704773" lvl="1" indent="-292190">
              <a:buFont typeface="Arial" pitchFamily="34" charset="0"/>
              <a:buChar char="•"/>
            </a:pPr>
            <a:endParaRPr lang="en-GB" sz="1846" dirty="0"/>
          </a:p>
          <a:p>
            <a:r>
              <a:rPr lang="en-GB" sz="1846" dirty="0"/>
              <a:t>Post-Harvest Assessment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Grain quality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Predictive testing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End product quality</a:t>
            </a:r>
          </a:p>
          <a:p>
            <a:endParaRPr lang="en-GB" sz="1846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0885" y="3088845"/>
            <a:ext cx="2099100" cy="1373358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2" descr="http://www.gta-sensorik.com/images/seite4_3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0941" y="4869282"/>
            <a:ext cx="2160222" cy="1203161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S:\WHEAT\BILL\Press Releases\Briefing 29_05_2008\2  Disease Nursery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60940" y="1365117"/>
            <a:ext cx="2160222" cy="1280887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60939" y="3088845"/>
            <a:ext cx="2160222" cy="1365560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0883" y="1365117"/>
            <a:ext cx="2099101" cy="1280887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3" descr="JohnSnape1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0883" y="4869282"/>
            <a:ext cx="2099101" cy="120316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869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n Breeding Method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073235-3821-4C4B-A585-AACB75BF89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335880"/>
            <a:ext cx="8229600" cy="4790283"/>
          </a:xfrm>
        </p:spPr>
        <p:txBody>
          <a:bodyPr/>
          <a:lstStyle/>
          <a:p>
            <a:r>
              <a:rPr lang="en-GB" sz="1662" dirty="0"/>
              <a:t>Pedigree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Traditional method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One generation per year, 10 years to market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Large programme, maintains diversity but slow</a:t>
            </a:r>
          </a:p>
          <a:p>
            <a:pPr marL="704773" lvl="1" indent="-292190">
              <a:buFont typeface="Arial" pitchFamily="34" charset="0"/>
              <a:buChar char="•"/>
            </a:pPr>
            <a:endParaRPr lang="en-GB" sz="1662" dirty="0"/>
          </a:p>
          <a:p>
            <a:r>
              <a:rPr lang="en-GB" sz="1662" dirty="0"/>
              <a:t>Single Seed Descent (SSD)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2 or 3 generations in a year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Requires growth room or glasshouse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Saves 1 to 2 years</a:t>
            </a:r>
          </a:p>
          <a:p>
            <a:endParaRPr lang="en-GB" sz="1662" dirty="0"/>
          </a:p>
          <a:p>
            <a:r>
              <a:rPr lang="en-GB" sz="1662" dirty="0"/>
              <a:t>Double Haploids (DH)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Fixes the new variety in one step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Requires tissue culture expertise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Fastest route, saves 2 to 3 years</a:t>
            </a:r>
          </a:p>
          <a:p>
            <a:pPr marL="412583" lvl="1" indent="0">
              <a:buNone/>
            </a:pPr>
            <a:endParaRPr lang="en-GB" sz="1662" dirty="0"/>
          </a:p>
          <a:p>
            <a:endParaRPr lang="en-GB" sz="1662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662" dirty="0"/>
          </a:p>
          <a:p>
            <a:endParaRPr lang="en-GB" sz="1662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662" dirty="0"/>
          </a:p>
          <a:p>
            <a:endParaRPr lang="en-GB" sz="1662" dirty="0"/>
          </a:p>
          <a:p>
            <a:pPr indent="0">
              <a:buNone/>
            </a:pPr>
            <a:endParaRPr lang="en-GB" sz="1662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662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0785" y="1335880"/>
            <a:ext cx="2326412" cy="144233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0785" y="2914921"/>
            <a:ext cx="2326412" cy="147606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00785" y="4504445"/>
            <a:ext cx="2326412" cy="15876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543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w Breeding System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5CFD45F-061A-4556-9808-9E1A189878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46" dirty="0"/>
              <a:t>Genomic Selection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534" dirty="0"/>
              <a:t>Used in commercial crop and animal breeding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534" dirty="0"/>
              <a:t>Requires high density marker system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534" dirty="0"/>
              <a:t>High computational demand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534" dirty="0"/>
              <a:t>Potential to increase the rate breeding gain</a:t>
            </a:r>
          </a:p>
          <a:p>
            <a:pPr marL="704773" lvl="1" indent="-292190">
              <a:buFont typeface="Arial" pitchFamily="34" charset="0"/>
              <a:buChar char="•"/>
            </a:pPr>
            <a:endParaRPr lang="en-GB" sz="1534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534" dirty="0"/>
          </a:p>
          <a:p>
            <a:r>
              <a:rPr lang="en-GB" sz="1846" dirty="0"/>
              <a:t>F</a:t>
            </a:r>
            <a:r>
              <a:rPr lang="en-GB" sz="1846" baseline="-25000" dirty="0"/>
              <a:t>1</a:t>
            </a:r>
            <a:r>
              <a:rPr lang="en-GB" sz="1846" dirty="0"/>
              <a:t> Hybrid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534" dirty="0"/>
              <a:t>Gain from hybrid vigour (heterosis)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534" dirty="0"/>
              <a:t>Requires cost effective seed production system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534" dirty="0"/>
              <a:t>Chemical emasculation method available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534" dirty="0"/>
              <a:t>Genetic solution is more desirable</a:t>
            </a:r>
          </a:p>
          <a:p>
            <a:pPr marL="704773" lvl="1" indent="-292190">
              <a:buFont typeface="Arial" pitchFamily="34" charset="0"/>
              <a:buChar char="•"/>
            </a:pPr>
            <a:endParaRPr lang="en-GB" sz="1534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5572" y="3863181"/>
            <a:ext cx="2987482" cy="197826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0679" y="1534888"/>
            <a:ext cx="3032375" cy="2106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39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rn Breeding Technology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8E3B52-6B17-450E-B9EA-FB079CBC97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662" dirty="0"/>
              <a:t>Phenotyping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Diseases and physiology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Whole crop or single plant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Automated system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Small plot estimates of yield</a:t>
            </a:r>
          </a:p>
          <a:p>
            <a:endParaRPr lang="en-GB" sz="1662" dirty="0"/>
          </a:p>
          <a:p>
            <a:endParaRPr lang="en-GB" sz="1662" dirty="0"/>
          </a:p>
          <a:p>
            <a:r>
              <a:rPr lang="en-GB" sz="1662" dirty="0"/>
              <a:t>Genotyping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Simple single genes of large effect</a:t>
            </a:r>
          </a:p>
          <a:p>
            <a:pPr marL="845457" lvl="2" indent="-292190">
              <a:buFont typeface="Wingdings" pitchFamily="2" charset="2"/>
              <a:buChar char="Ø"/>
            </a:pPr>
            <a:r>
              <a:rPr lang="en-GB" sz="1662" dirty="0"/>
              <a:t>Marker Assisted Breeding</a:t>
            </a:r>
          </a:p>
          <a:p>
            <a:pPr marL="845457" lvl="2" indent="-292190">
              <a:buFont typeface="Wingdings" pitchFamily="2" charset="2"/>
              <a:buChar char="Ø"/>
            </a:pPr>
            <a:endParaRPr lang="en-GB" sz="1662" dirty="0"/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662" dirty="0"/>
              <a:t>Complex multi-genes of small effects</a:t>
            </a:r>
          </a:p>
          <a:p>
            <a:pPr marL="845457" lvl="2" indent="-292190">
              <a:buFont typeface="Wingdings" pitchFamily="2" charset="2"/>
              <a:buChar char="Ø"/>
            </a:pPr>
            <a:r>
              <a:rPr lang="en-GB" sz="1662" dirty="0"/>
              <a:t>Genome wide analysis</a:t>
            </a:r>
          </a:p>
          <a:p>
            <a:pPr marL="845457" lvl="2" indent="-292190">
              <a:buFont typeface="Arial" pitchFamily="34" charset="0"/>
              <a:buChar char="•"/>
            </a:pPr>
            <a:endParaRPr lang="en-GB" sz="1662" dirty="0"/>
          </a:p>
          <a:p>
            <a:endParaRPr lang="en-GB" sz="1662" dirty="0"/>
          </a:p>
          <a:p>
            <a:endParaRPr lang="en-GB" sz="1662" dirty="0"/>
          </a:p>
          <a:p>
            <a:endParaRPr lang="en-GB" sz="1662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662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662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662" dirty="0"/>
          </a:p>
        </p:txBody>
      </p:sp>
      <p:pic>
        <p:nvPicPr>
          <p:cNvPr id="6" name="Image 4" descr="essais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54861" y="1906058"/>
            <a:ext cx="2112690" cy="1467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2466" y="1329939"/>
            <a:ext cx="2183965" cy="144307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2" descr="http://www.kbioscience.co.uk/Images/data_1536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54861" y="4357887"/>
            <a:ext cx="2112690" cy="1551916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/>
          <p:cNvGrpSpPr/>
          <p:nvPr/>
        </p:nvGrpSpPr>
        <p:grpSpPr>
          <a:xfrm>
            <a:off x="6242957" y="3852751"/>
            <a:ext cx="2193474" cy="1557776"/>
            <a:chOff x="6767469" y="2784130"/>
            <a:chExt cx="2197018" cy="148924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" name="Rectangle 7"/>
            <p:cNvSpPr/>
            <p:nvPr/>
          </p:nvSpPr>
          <p:spPr bwMode="auto">
            <a:xfrm>
              <a:off x="6767469" y="2784130"/>
              <a:ext cx="2197018" cy="148924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4406" tIns="42203" rIns="84406" bIns="42203" numCol="1" rtlCol="0" anchor="t" anchorCtr="0" compatLnSpc="1">
              <a:prstTxWarp prst="textNoShape">
                <a:avLst/>
              </a:prstTxWarp>
            </a:bodyPr>
            <a:lstStyle/>
            <a:p>
              <a:pPr defTabSz="844083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2215">
                <a:latin typeface="Arial" charset="0"/>
                <a:ea typeface="ＭＳ Ｐゴシック" pitchFamily="1" charset="-128"/>
              </a:endParaRPr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114507" y="2858574"/>
              <a:ext cx="840456" cy="1296144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0" name="Group 9"/>
            <p:cNvGrpSpPr/>
            <p:nvPr/>
          </p:nvGrpSpPr>
          <p:grpSpPr>
            <a:xfrm>
              <a:off x="6818272" y="2909980"/>
              <a:ext cx="1305759" cy="1346644"/>
              <a:chOff x="5760943" y="4246939"/>
              <a:chExt cx="1800200" cy="1697592"/>
            </a:xfrm>
          </p:grpSpPr>
          <p:pic>
            <p:nvPicPr>
              <p:cNvPr id="11" name="Picture 5" descr="http://ars.els-cdn.com/content/image/1-s2.0-S0003347204003008-gr4.jpg"/>
              <p:cNvPicPr>
                <a:picLocks noChangeAspect="1" noChangeArrowheads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5760943" y="4246939"/>
                <a:ext cx="1800200" cy="14380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TextBox 11"/>
              <p:cNvSpPr txBox="1"/>
              <p:nvPr/>
            </p:nvSpPr>
            <p:spPr>
              <a:xfrm>
                <a:off x="6099498" y="5645015"/>
                <a:ext cx="1352822" cy="2995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015" dirty="0"/>
                  <a:t>AA       T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3464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notyping - Single genes of large effec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317C5A-C9D3-4D21-BBF2-B722E2148DB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46" dirty="0"/>
              <a:t>Increasing catalogue of commercially important gene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Disease resistance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Agronomic trait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Elements of grain quality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Yield (grain size)</a:t>
            </a:r>
          </a:p>
          <a:p>
            <a:pPr marL="704773" lvl="1" indent="-292190">
              <a:buFont typeface="Arial" pitchFamily="34" charset="0"/>
              <a:buChar char="•"/>
            </a:pPr>
            <a:endParaRPr lang="en-GB" sz="1846" dirty="0"/>
          </a:p>
          <a:p>
            <a:pPr marL="704773" lvl="1" indent="-292190">
              <a:buFont typeface="Arial" pitchFamily="34" charset="0"/>
              <a:buChar char="•"/>
            </a:pPr>
            <a:endParaRPr lang="en-GB" sz="1846" dirty="0"/>
          </a:p>
          <a:p>
            <a:r>
              <a:rPr lang="en-GB" sz="1846" dirty="0"/>
              <a:t>Marker Assisted breeding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Profiling parent varietie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Selecting crosses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Intense early stage selection</a:t>
            </a:r>
          </a:p>
          <a:p>
            <a:pPr marL="704773" lvl="1" indent="-292190">
              <a:buFont typeface="Arial" pitchFamily="34" charset="0"/>
              <a:buChar char="•"/>
            </a:pPr>
            <a:r>
              <a:rPr lang="en-GB" sz="1846" dirty="0"/>
              <a:t>Stacking novel gene combinations</a:t>
            </a:r>
          </a:p>
          <a:p>
            <a:endParaRPr lang="en-GB" sz="1846" dirty="0"/>
          </a:p>
        </p:txBody>
      </p:sp>
      <p:pic>
        <p:nvPicPr>
          <p:cNvPr id="6" name="Picture 3" descr="S:\WHEAT\BILL\WWB2\Argentina photos\HPIM2098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59565" y="3464169"/>
            <a:ext cx="1430548" cy="191378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S:\WHEAT\BILL\Trials 2007-8\Y3 trials\Stb_Devon_2008_small_file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5834872" y="4295831"/>
            <a:ext cx="1706646" cy="1385363"/>
          </a:xfrm>
          <a:prstGeom prst="rect">
            <a:avLst/>
          </a:prstGeom>
          <a:noFill/>
          <a:ln w="3175" cmpd="sng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2653" y="2892660"/>
            <a:ext cx="1384302" cy="20764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6" descr="owbm_adult_2_mai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5342" y="2350360"/>
            <a:ext cx="1522766" cy="1776984"/>
          </a:xfrm>
          <a:prstGeom prst="rect">
            <a:avLst/>
          </a:prstGeom>
          <a:noFill/>
          <a:ln w="1587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334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i="1" dirty="0"/>
              <a:t>Septoria tritici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93FE2B-FF08-4EF6-881D-47302E0266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3776" indent="-263776">
              <a:buFont typeface="Arial" panose="020B0604020202020204" pitchFamily="34" charset="0"/>
              <a:buChar char="•"/>
            </a:pPr>
            <a:r>
              <a:rPr lang="en-GB" sz="1662" dirty="0"/>
              <a:t>Major yield robbing disease</a:t>
            </a:r>
          </a:p>
          <a:p>
            <a:pPr marL="263776" indent="-263776">
              <a:buFont typeface="Arial" panose="020B0604020202020204" pitchFamily="34" charset="0"/>
              <a:buChar char="•"/>
            </a:pPr>
            <a:endParaRPr lang="en-GB" sz="1662" dirty="0"/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GB" sz="1662" dirty="0"/>
              <a:t>Loss of fungicide efficacy</a:t>
            </a:r>
          </a:p>
          <a:p>
            <a:pPr marL="263776" indent="-263776">
              <a:buFont typeface="Arial" panose="020B0604020202020204" pitchFamily="34" charset="0"/>
              <a:buChar char="•"/>
            </a:pPr>
            <a:endParaRPr lang="en-GB" sz="1662" dirty="0"/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GB" sz="1662" dirty="0"/>
              <a:t>Threat of fungicide withdrawals</a:t>
            </a:r>
          </a:p>
          <a:p>
            <a:pPr marL="263776" indent="-263776">
              <a:buFont typeface="Arial" panose="020B0604020202020204" pitchFamily="34" charset="0"/>
              <a:buChar char="•"/>
            </a:pPr>
            <a:endParaRPr lang="en-GB" sz="1662" dirty="0"/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GB" sz="1662" dirty="0"/>
              <a:t>Multiple sources of resistance identified</a:t>
            </a:r>
            <a:endParaRPr lang="en-GB" sz="1534" dirty="0"/>
          </a:p>
          <a:p>
            <a:pPr lvl="1">
              <a:buClr>
                <a:srgbClr val="B0BA25"/>
              </a:buClr>
              <a:buFont typeface="Arial" panose="020B0604020202020204" pitchFamily="34" charset="0"/>
              <a:buChar char="•"/>
            </a:pPr>
            <a:r>
              <a:rPr lang="en-GB" sz="1534" dirty="0"/>
              <a:t>Commercial UK varieties</a:t>
            </a:r>
          </a:p>
          <a:p>
            <a:pPr lvl="1">
              <a:buClr>
                <a:srgbClr val="B0BA25"/>
              </a:buClr>
              <a:buFont typeface="Arial" panose="020B0604020202020204" pitchFamily="34" charset="0"/>
              <a:buChar char="•"/>
            </a:pPr>
            <a:r>
              <a:rPr lang="en-GB" sz="1534" dirty="0"/>
              <a:t>Pre-commercial breeding lines</a:t>
            </a:r>
          </a:p>
          <a:p>
            <a:pPr lvl="1">
              <a:buClr>
                <a:srgbClr val="B0BA25"/>
              </a:buClr>
              <a:buFont typeface="Arial" panose="020B0604020202020204" pitchFamily="34" charset="0"/>
              <a:buChar char="•"/>
            </a:pPr>
            <a:r>
              <a:rPr lang="en-GB" sz="1534" dirty="0"/>
              <a:t>Continental varieties</a:t>
            </a:r>
          </a:p>
          <a:p>
            <a:pPr lvl="1"/>
            <a:endParaRPr lang="en-GB" sz="1534" dirty="0"/>
          </a:p>
          <a:p>
            <a:pPr marL="263776" indent="-263776">
              <a:buFont typeface="Arial" panose="020B0604020202020204" pitchFamily="34" charset="0"/>
              <a:buChar char="•"/>
            </a:pPr>
            <a:r>
              <a:rPr lang="en-GB" sz="1662" dirty="0"/>
              <a:t>DNA markers available and in development</a:t>
            </a:r>
          </a:p>
          <a:p>
            <a:pPr lvl="1">
              <a:buClr>
                <a:srgbClr val="B0BA25"/>
              </a:buClr>
              <a:buFont typeface="Arial" panose="020B0604020202020204" pitchFamily="34" charset="0"/>
              <a:buChar char="•"/>
            </a:pPr>
            <a:r>
              <a:rPr lang="en-GB" dirty="0"/>
              <a:t>Requires screening in multiple high disease locations</a:t>
            </a:r>
          </a:p>
          <a:p>
            <a:pPr lvl="1">
              <a:buClr>
                <a:srgbClr val="B0BA25"/>
              </a:buClr>
              <a:buFont typeface="Arial" panose="020B0604020202020204" pitchFamily="34" charset="0"/>
              <a:buChar char="•"/>
            </a:pPr>
            <a:r>
              <a:rPr lang="en-GB" dirty="0"/>
              <a:t>High density mapping</a:t>
            </a:r>
          </a:p>
          <a:p>
            <a:pPr lvl="1">
              <a:buClr>
                <a:srgbClr val="B0BA25"/>
              </a:buClr>
              <a:buFont typeface="Arial" panose="020B0604020202020204" pitchFamily="34" charset="0"/>
              <a:buChar char="•"/>
            </a:pPr>
            <a:r>
              <a:rPr lang="en-GB" dirty="0"/>
              <a:t>Priority to stack multiple sources together</a:t>
            </a:r>
          </a:p>
          <a:p>
            <a:pPr lvl="1">
              <a:buClr>
                <a:srgbClr val="B0BA25"/>
              </a:buClr>
              <a:buFont typeface="Arial" panose="020B0604020202020204" pitchFamily="34" charset="0"/>
              <a:buChar char="•"/>
            </a:pPr>
            <a:r>
              <a:rPr lang="en-GB" dirty="0"/>
              <a:t>Limit the risk of breakdown</a:t>
            </a:r>
          </a:p>
          <a:p>
            <a:endParaRPr lang="en-GB" sz="1534" dirty="0"/>
          </a:p>
          <a:p>
            <a:endParaRPr lang="en-GB" sz="1534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9946" y="1532631"/>
            <a:ext cx="1594944" cy="414803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47913" y="1543119"/>
            <a:ext cx="1481019" cy="41379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95183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G_Master_4-3_v23a">
  <a:themeElements>
    <a:clrScheme name="Custom 7">
      <a:dk1>
        <a:srgbClr val="000000"/>
      </a:dk1>
      <a:lt1>
        <a:sysClr val="window" lastClr="FFFFFF"/>
      </a:lt1>
      <a:dk2>
        <a:srgbClr val="EE002D"/>
      </a:dk2>
      <a:lt2>
        <a:srgbClr val="FFFFFF"/>
      </a:lt2>
      <a:accent1>
        <a:srgbClr val="CD042D"/>
      </a:accent1>
      <a:accent2>
        <a:srgbClr val="646568"/>
      </a:accent2>
      <a:accent3>
        <a:srgbClr val="CE0042"/>
      </a:accent3>
      <a:accent4>
        <a:srgbClr val="E30028"/>
      </a:accent4>
      <a:accent5>
        <a:srgbClr val="E2000F"/>
      </a:accent5>
      <a:accent6>
        <a:srgbClr val="009900"/>
      </a:accent6>
      <a:hlink>
        <a:srgbClr val="FF0000"/>
      </a:hlink>
      <a:folHlink>
        <a:srgbClr val="64656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vert="horz" lIns="91440" tIns="45720" rIns="91440" bIns="45720" rtlCol="0" anchor="ctr">
        <a:normAutofit/>
      </a:bodyPr>
      <a:lstStyle>
        <a:defPPr>
          <a:defRPr dirty="0" smtClean="0">
            <a:solidFill>
              <a:srgbClr val="77777A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G_PPT_v1d [Schreibgeschützt]" id="{0F6F36B9-4663-476B-9DB2-962E6165B955}" vid="{1F911F60-3979-4D48-9F71-0FDEA30A7855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G_Master_4-3_v24a</Template>
  <TotalTime>834</TotalTime>
  <Words>584</Words>
  <Application>Microsoft Office PowerPoint</Application>
  <PresentationFormat>On-screen Show (4:3)</PresentationFormat>
  <Paragraphs>186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Webdings</vt:lpstr>
      <vt:lpstr>Wingdings</vt:lpstr>
      <vt:lpstr>Wingdings 2</vt:lpstr>
      <vt:lpstr>LG_Master_4-3_v23a</vt:lpstr>
      <vt:lpstr>think-cell Slide</vt:lpstr>
      <vt:lpstr>PowerPoint Presentation</vt:lpstr>
      <vt:lpstr>Breeding Objectives</vt:lpstr>
      <vt:lpstr>External Factors affecting Breeding</vt:lpstr>
      <vt:lpstr>Traditional Breeding Approaches</vt:lpstr>
      <vt:lpstr>Main Breeding Methods</vt:lpstr>
      <vt:lpstr>New Breeding Systems</vt:lpstr>
      <vt:lpstr>Modern Breeding Technology</vt:lpstr>
      <vt:lpstr>Genotyping - Single genes of large effect</vt:lpstr>
      <vt:lpstr>Septoria tritici</vt:lpstr>
      <vt:lpstr>Genotyping - Multiple genes of small effect</vt:lpstr>
      <vt:lpstr>Soft Wheat Classification</vt:lpstr>
      <vt:lpstr>Frost Damage and Sterility</vt:lpstr>
      <vt:lpstr>Integrated Breeding Platform </vt:lpstr>
      <vt:lpstr>The Breeding Challenge</vt:lpstr>
      <vt:lpstr>PowerPoint Presentation</vt:lpstr>
    </vt:vector>
  </TitlesOfParts>
  <Company>Steffen und Bach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VERGNE, Frederique</dc:creator>
  <cp:lastModifiedBy>CHARLTON, William</cp:lastModifiedBy>
  <cp:revision>99</cp:revision>
  <cp:lastPrinted>2017-05-26T09:15:36Z</cp:lastPrinted>
  <dcterms:created xsi:type="dcterms:W3CDTF">2017-06-16T09:24:44Z</dcterms:created>
  <dcterms:modified xsi:type="dcterms:W3CDTF">2020-05-20T15:48:53Z</dcterms:modified>
</cp:coreProperties>
</file>